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3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2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740" r:id="rId5"/>
    <p:sldMasterId id="2147483765" r:id="rId6"/>
  </p:sldMasterIdLst>
  <p:notesMasterIdLst>
    <p:notesMasterId r:id="rId10"/>
  </p:notesMasterIdLst>
  <p:handoutMasterIdLst>
    <p:handoutMasterId r:id="rId11"/>
  </p:handoutMasterIdLst>
  <p:sldIdLst>
    <p:sldId id="2147376282" r:id="rId7"/>
    <p:sldId id="636139218" r:id="rId8"/>
    <p:sldId id="2147376368" r:id="rId9"/>
  </p:sldIdLst>
  <p:sldSz cx="12192000" cy="6858000"/>
  <p:notesSz cx="6858000" cy="9144000"/>
  <p:embeddedFontLst>
    <p:embeddedFont>
      <p:font typeface="Calibri" panose="020F0502020204030204" pitchFamily="34" charset="0"/>
      <p:regular r:id="rId12"/>
      <p:bold r:id="rId13"/>
      <p:italic r:id="rId14"/>
      <p:boldItalic r:id="rId15"/>
    </p:embeddedFont>
    <p:embeddedFont>
      <p:font typeface="H&amp;Z Campton TT Book" panose="020B0004020102020203" pitchFamily="34" charset="0"/>
      <p:regular r:id="rId16"/>
      <p:bold r:id="rId17"/>
      <p:italic r:id="rId18"/>
    </p:embeddedFont>
  </p:embeddedFontLst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1FE83E2E-15A4-4D4D-BC5F-98F3EF0C2C37}">
          <p14:sldIdLst>
            <p14:sldId id="2147376282"/>
            <p14:sldId id="636139218"/>
            <p14:sldId id="214737636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E7E3"/>
    <a:srgbClr val="A48550"/>
    <a:srgbClr val="A73C71"/>
    <a:srgbClr val="D4DBEB"/>
    <a:srgbClr val="ABBAD4"/>
    <a:srgbClr val="557E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29D4A5-065C-43CC-856F-F6B524B7AB8A}" v="19" dt="2023-02-01T08:19:20.03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0"/>
    <p:restoredTop sz="94660"/>
  </p:normalViewPr>
  <p:slideViewPr>
    <p:cSldViewPr snapToGrid="0">
      <p:cViewPr varScale="1">
        <p:scale>
          <a:sx n="95" d="100"/>
          <a:sy n="95" d="100"/>
        </p:scale>
        <p:origin x="498" y="-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54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" Type="http://schemas.openxmlformats.org/officeDocument/2006/relationships/customXml" Target="../customXml/item2.xml"/><Relationship Id="rId16" Type="http://schemas.openxmlformats.org/officeDocument/2006/relationships/font" Target="fonts/font5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handoutMaster" Target="handoutMasters/handoutMaster1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4.fntdata"/><Relationship Id="rId23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font" Target="fonts/font3.fntdata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CC5ED745-BB9F-434E-A0C1-5303DC5EFC5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D4AC159-DFF5-4F59-A8D1-C5C34A88830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28F5A7-0CB6-4345-B5AF-42CA3AEC5681}" type="datetimeFigureOut">
              <a:rPr lang="de-DE" smtClean="0"/>
              <a:t>01.02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1895E14-ADE1-44D7-8176-316EA496D8F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68AA2B7-1C3E-4AC3-94BC-B3B139CDB5B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5F8EE0-CDD2-4F36-A78F-17652477B07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1474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A82960E5-0873-4B22-9BBA-6ABE71B6C513}" type="datetimeFigureOut">
              <a:rPr lang="en-US" smtClean="0"/>
              <a:pPr/>
              <a:t>2/1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A0F47EFD-6403-4208-ACAB-F1E738AFC9B2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8671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868A0-047D-4F4A-9541-42F2DC79F62F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t>1</a:t>
            </a:fld>
            <a:endParaRPr lang="en-US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11874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8575" y="563563"/>
            <a:ext cx="5013325" cy="28209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4690873" y="7402388"/>
            <a:ext cx="107261" cy="116564"/>
          </a:xfrm>
        </p:spPr>
        <p:txBody>
          <a:bodyPr/>
          <a:lstStyle/>
          <a:p>
            <a:fld id="{531B65D1-5898-4885-8BE1-5CE4DCA6FA73}" type="slidenum">
              <a:rPr lang="en-GB" smtClean="0">
                <a:solidFill>
                  <a:prstClr val="black"/>
                </a:solidFill>
              </a:rPr>
              <a:pPr/>
              <a:t>2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>
          <a:xfrm>
            <a:off x="272852" y="7402388"/>
            <a:ext cx="494864" cy="116564"/>
          </a:xfrm>
        </p:spPr>
        <p:txBody>
          <a:bodyPr/>
          <a:lstStyle/>
          <a:p>
            <a:fld id="{DAA16FB0-B552-498D-B769-6453F790CBC4}" type="datetime3">
              <a:rPr lang="en-GB" smtClean="0">
                <a:solidFill>
                  <a:prstClr val="black"/>
                </a:solidFill>
              </a:rPr>
              <a:pPr/>
              <a:t>1 February, 202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34889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8575" y="563563"/>
            <a:ext cx="5013325" cy="28209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4690873" y="7402388"/>
            <a:ext cx="107261" cy="116564"/>
          </a:xfrm>
        </p:spPr>
        <p:txBody>
          <a:bodyPr/>
          <a:lstStyle/>
          <a:p>
            <a:fld id="{531B65D1-5898-4885-8BE1-5CE4DCA6FA73}" type="slidenum">
              <a:rPr lang="en-GB" smtClean="0">
                <a:solidFill>
                  <a:prstClr val="black"/>
                </a:solidFill>
              </a:rPr>
              <a:pPr/>
              <a:t>3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>
          <a:xfrm>
            <a:off x="272852" y="7402388"/>
            <a:ext cx="494864" cy="116564"/>
          </a:xfrm>
        </p:spPr>
        <p:txBody>
          <a:bodyPr/>
          <a:lstStyle/>
          <a:p>
            <a:fld id="{DAA16FB0-B552-498D-B769-6453F790CBC4}" type="datetime3">
              <a:rPr lang="en-GB" smtClean="0">
                <a:solidFill>
                  <a:prstClr val="black"/>
                </a:solidFill>
              </a:rPr>
              <a:pPr/>
              <a:t>1 February, 202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37094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oleObject" Target="../embeddings/oleObject26.bin"/><Relationship Id="rId7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1.emf"/><Relationship Id="rId9" Type="http://schemas.openxmlformats.org/officeDocument/2006/relationships/image" Target="../media/image10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3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Relationship Id="rId4" Type="http://schemas.openxmlformats.org/officeDocument/2006/relationships/image" Target="../media/image14.emf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3.xml"/><Relationship Id="rId7" Type="http://schemas.openxmlformats.org/officeDocument/2006/relationships/oleObject" Target="../embeddings/oleObject48.bin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7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3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4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5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8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9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5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6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7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8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9.xml"/><Relationship Id="rId4" Type="http://schemas.openxmlformats.org/officeDocument/2006/relationships/image" Target="../media/image1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2.xml"/><Relationship Id="rId7" Type="http://schemas.openxmlformats.org/officeDocument/2006/relationships/oleObject" Target="../embeddings/oleObject73.bin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94.xml"/><Relationship Id="rId4" Type="http://schemas.openxmlformats.org/officeDocument/2006/relationships/tags" Target="../tags/tag9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5.xml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6.xml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7.xml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8.xml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F0169C1-BC08-47D2-B654-4819A69C21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1518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F0169C1-BC08-47D2-B654-4819A69C21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7AC7C68-B383-4F63-8526-52E52DE6315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7988" y="3240952"/>
            <a:ext cx="1592262" cy="261062"/>
          </a:xfrm>
          <a:noFill/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Mastertextformat bearbeite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E186545-3571-4985-9206-7FA2EA53084C}"/>
              </a:ext>
            </a:extLst>
          </p:cNvPr>
          <p:cNvSpPr/>
          <p:nvPr userDrawn="1"/>
        </p:nvSpPr>
        <p:spPr>
          <a:xfrm>
            <a:off x="0" y="0"/>
            <a:ext cx="12192000" cy="6087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60B63904-2DAA-4AB5-953A-E5F561CFF50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688069"/>
            <a:ext cx="12192000" cy="3168344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8913F9C-4FFB-4DC9-BB1B-575A9FC4C8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629484"/>
            <a:ext cx="11376024" cy="531177"/>
          </a:xfrm>
        </p:spPr>
        <p:txBody>
          <a:bodyPr vert="horz" anchor="t"/>
          <a:lstStyle>
            <a:lvl1pPr algn="l" rtl="0">
              <a:defRPr sz="3600"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63A6C9A-072B-49D0-9CAA-7971B9E481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88" y="1160661"/>
            <a:ext cx="11376024" cy="863402"/>
          </a:xfrm>
        </p:spPr>
        <p:txBody>
          <a:bodyPr/>
          <a:lstStyle>
            <a:lvl1pPr marL="0" indent="0" algn="l" rtl="0">
              <a:lnSpc>
                <a:spcPct val="100000"/>
              </a:lnSpc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Master-Untertitelformat bearbeite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596EB65-B9BF-47EF-B959-A26AEC49455A}"/>
              </a:ext>
            </a:extLst>
          </p:cNvPr>
          <p:cNvSpPr txBox="1"/>
          <p:nvPr userDrawn="1"/>
        </p:nvSpPr>
        <p:spPr>
          <a:xfrm>
            <a:off x="9553922" y="3286724"/>
            <a:ext cx="853119" cy="21544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rtl="0"/>
            <a:r>
              <a:rPr lang="en-US" sz="800"/>
              <a:t>A member of 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B8B38FD6-A8D1-4231-B521-14BE15B37F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9257" y="3331367"/>
            <a:ext cx="1454755" cy="225679"/>
          </a:xfrm>
          <a:prstGeom prst="rect">
            <a:avLst/>
          </a:prstGeom>
        </p:spPr>
      </p:pic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6A7DD87A-607C-484F-8CD1-5634710F83E7}"/>
              </a:ext>
            </a:extLst>
          </p:cNvPr>
          <p:cNvGrpSpPr/>
          <p:nvPr userDrawn="1"/>
        </p:nvGrpSpPr>
        <p:grpSpPr>
          <a:xfrm>
            <a:off x="9426576" y="-1587"/>
            <a:ext cx="2765426" cy="513295"/>
            <a:chOff x="8197848" y="1588"/>
            <a:chExt cx="3994153" cy="741361"/>
          </a:xfrm>
        </p:grpSpPr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F797134D-26E1-4831-BF4B-D7A72981A09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336043" y="1588"/>
              <a:ext cx="1855958" cy="741361"/>
            </a:xfrm>
            <a:prstGeom prst="rect">
              <a:avLst/>
            </a:prstGeom>
          </p:spPr>
        </p:pic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2B18E14E-232A-4480-B411-783892C9088A}"/>
                </a:ext>
              </a:extLst>
            </p:cNvPr>
            <p:cNvSpPr/>
            <p:nvPr/>
          </p:nvSpPr>
          <p:spPr>
            <a:xfrm>
              <a:off x="8867076" y="43331"/>
              <a:ext cx="755690" cy="631880"/>
            </a:xfrm>
            <a:custGeom>
              <a:avLst/>
              <a:gdLst>
                <a:gd name="connsiteX0" fmla="*/ 444408 w 755690"/>
                <a:gd name="connsiteY0" fmla="*/ 631879 h 631880"/>
                <a:gd name="connsiteX1" fmla="*/ 397057 w 755690"/>
                <a:gd name="connsiteY1" fmla="*/ 587886 h 631880"/>
                <a:gd name="connsiteX2" fmla="*/ 653310 w 755690"/>
                <a:gd name="connsiteY2" fmla="*/ 312052 h 631880"/>
                <a:gd name="connsiteX3" fmla="*/ 642336 w 755690"/>
                <a:gd name="connsiteY3" fmla="*/ 102919 h 631880"/>
                <a:gd name="connsiteX4" fmla="*/ 638523 w 755690"/>
                <a:gd name="connsiteY4" fmla="*/ 99602 h 631880"/>
                <a:gd name="connsiteX5" fmla="*/ 433318 w 755690"/>
                <a:gd name="connsiteY5" fmla="*/ 113768 h 631880"/>
                <a:gd name="connsiteX6" fmla="*/ 432587 w 755690"/>
                <a:gd name="connsiteY6" fmla="*/ 114560 h 631880"/>
                <a:gd name="connsiteX7" fmla="*/ 378037 w 755690"/>
                <a:gd name="connsiteY7" fmla="*/ 171104 h 631880"/>
                <a:gd name="connsiteX8" fmla="*/ 322648 w 755690"/>
                <a:gd name="connsiteY8" fmla="*/ 113752 h 631880"/>
                <a:gd name="connsiteX9" fmla="*/ 113502 w 755690"/>
                <a:gd name="connsiteY9" fmla="*/ 103050 h 631880"/>
                <a:gd name="connsiteX10" fmla="*/ 64991 w 755690"/>
                <a:gd name="connsiteY10" fmla="*/ 202794 h 631880"/>
                <a:gd name="connsiteX11" fmla="*/ 102562 w 755690"/>
                <a:gd name="connsiteY11" fmla="*/ 311928 h 631880"/>
                <a:gd name="connsiteX12" fmla="*/ 281322 w 755690"/>
                <a:gd name="connsiteY12" fmla="*/ 500476 h 631880"/>
                <a:gd name="connsiteX13" fmla="*/ 234398 w 755690"/>
                <a:gd name="connsiteY13" fmla="*/ 544952 h 631880"/>
                <a:gd name="connsiteX14" fmla="*/ 54822 w 755690"/>
                <a:gd name="connsiteY14" fmla="*/ 355517 h 631880"/>
                <a:gd name="connsiteX15" fmla="*/ 70182 w 755690"/>
                <a:gd name="connsiteY15" fmla="*/ 55068 h 631880"/>
                <a:gd name="connsiteX16" fmla="*/ 75862 w 755690"/>
                <a:gd name="connsiteY16" fmla="*/ 50120 h 631880"/>
                <a:gd name="connsiteX17" fmla="*/ 370293 w 755690"/>
                <a:gd name="connsiteY17" fmla="*/ 70024 h 631880"/>
                <a:gd name="connsiteX18" fmla="*/ 378037 w 755690"/>
                <a:gd name="connsiteY18" fmla="*/ 78032 h 631880"/>
                <a:gd name="connsiteX19" fmla="*/ 385734 w 755690"/>
                <a:gd name="connsiteY19" fmla="*/ 70039 h 631880"/>
                <a:gd name="connsiteX20" fmla="*/ 686228 w 755690"/>
                <a:gd name="connsiteY20" fmla="*/ 56053 h 631880"/>
                <a:gd name="connsiteX21" fmla="*/ 701147 w 755690"/>
                <a:gd name="connsiteY21" fmla="*/ 355517 h 631880"/>
                <a:gd name="connsiteX22" fmla="*/ 700836 w 755690"/>
                <a:gd name="connsiteY22" fmla="*/ 355857 h 63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55690" h="631880">
                  <a:moveTo>
                    <a:pt x="444408" y="631879"/>
                  </a:moveTo>
                  <a:lnTo>
                    <a:pt x="397057" y="587886"/>
                  </a:lnTo>
                  <a:lnTo>
                    <a:pt x="653310" y="312052"/>
                  </a:lnTo>
                  <a:cubicBezTo>
                    <a:pt x="708031" y="251271"/>
                    <a:pt x="703117" y="157639"/>
                    <a:pt x="642336" y="102919"/>
                  </a:cubicBezTo>
                  <a:cubicBezTo>
                    <a:pt x="641084" y="101792"/>
                    <a:pt x="639812" y="100686"/>
                    <a:pt x="638523" y="99602"/>
                  </a:cubicBezTo>
                  <a:cubicBezTo>
                    <a:pt x="577578" y="47957"/>
                    <a:pt x="486590" y="54238"/>
                    <a:pt x="433318" y="113768"/>
                  </a:cubicBezTo>
                  <a:lnTo>
                    <a:pt x="432587" y="114560"/>
                  </a:lnTo>
                  <a:lnTo>
                    <a:pt x="378037" y="171104"/>
                  </a:lnTo>
                  <a:lnTo>
                    <a:pt x="322648" y="113752"/>
                  </a:lnTo>
                  <a:cubicBezTo>
                    <a:pt x="267848" y="53043"/>
                    <a:pt x="174211" y="48251"/>
                    <a:pt x="113502" y="103050"/>
                  </a:cubicBezTo>
                  <a:cubicBezTo>
                    <a:pt x="85019" y="128759"/>
                    <a:pt x="67629" y="164518"/>
                    <a:pt x="64991" y="202794"/>
                  </a:cubicBezTo>
                  <a:cubicBezTo>
                    <a:pt x="62089" y="242776"/>
                    <a:pt x="75663" y="282204"/>
                    <a:pt x="102562" y="311928"/>
                  </a:cubicBezTo>
                  <a:lnTo>
                    <a:pt x="281322" y="500476"/>
                  </a:lnTo>
                  <a:lnTo>
                    <a:pt x="234398" y="544952"/>
                  </a:lnTo>
                  <a:lnTo>
                    <a:pt x="54822" y="355517"/>
                  </a:lnTo>
                  <a:cubicBezTo>
                    <a:pt x="-23904" y="268310"/>
                    <a:pt x="-17028" y="133793"/>
                    <a:pt x="70182" y="55068"/>
                  </a:cubicBezTo>
                  <a:cubicBezTo>
                    <a:pt x="72046" y="53385"/>
                    <a:pt x="73939" y="51735"/>
                    <a:pt x="75862" y="50120"/>
                  </a:cubicBezTo>
                  <a:cubicBezTo>
                    <a:pt x="163298" y="-23783"/>
                    <a:pt x="293600" y="-14974"/>
                    <a:pt x="370293" y="70024"/>
                  </a:cubicBezTo>
                  <a:lnTo>
                    <a:pt x="378037" y="78032"/>
                  </a:lnTo>
                  <a:lnTo>
                    <a:pt x="385734" y="70039"/>
                  </a:lnTo>
                  <a:cubicBezTo>
                    <a:pt x="464851" y="-16802"/>
                    <a:pt x="599386" y="-23064"/>
                    <a:pt x="686228" y="56053"/>
                  </a:cubicBezTo>
                  <a:cubicBezTo>
                    <a:pt x="772670" y="134805"/>
                    <a:pt x="779331" y="268563"/>
                    <a:pt x="701147" y="355517"/>
                  </a:cubicBezTo>
                  <a:lnTo>
                    <a:pt x="700836" y="355857"/>
                  </a:lnTo>
                  <a:close/>
                </a:path>
              </a:pathLst>
            </a:custGeom>
            <a:solidFill>
              <a:schemeClr val="accent3"/>
            </a:solidFill>
            <a:ln w="264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9C0F2BAC-C614-4DBA-B917-5D1E178AAE7A}"/>
                </a:ext>
              </a:extLst>
            </p:cNvPr>
            <p:cNvSpPr/>
            <p:nvPr/>
          </p:nvSpPr>
          <p:spPr>
            <a:xfrm>
              <a:off x="9692930" y="43329"/>
              <a:ext cx="601387" cy="632252"/>
            </a:xfrm>
            <a:custGeom>
              <a:avLst/>
              <a:gdLst>
                <a:gd name="connsiteX0" fmla="*/ 32383 w 601387"/>
                <a:gd name="connsiteY0" fmla="*/ 67228 h 632252"/>
                <a:gd name="connsiteX1" fmla="*/ 65354 w 601387"/>
                <a:gd name="connsiteY1" fmla="*/ 99611 h 632252"/>
                <a:gd name="connsiteX2" fmla="*/ 65354 w 601387"/>
                <a:gd name="connsiteY2" fmla="*/ 405626 h 632252"/>
                <a:gd name="connsiteX3" fmla="*/ 72864 w 601387"/>
                <a:gd name="connsiteY3" fmla="*/ 500841 h 632252"/>
                <a:gd name="connsiteX4" fmla="*/ 6754 w 601387"/>
                <a:gd name="connsiteY4" fmla="*/ 500968 h 632252"/>
                <a:gd name="connsiteX5" fmla="*/ 0 w 601387"/>
                <a:gd name="connsiteY5" fmla="*/ 405626 h 632252"/>
                <a:gd name="connsiteX6" fmla="*/ 0 w 601387"/>
                <a:gd name="connsiteY6" fmla="*/ 99611 h 632252"/>
                <a:gd name="connsiteX7" fmla="*/ 32383 w 601387"/>
                <a:gd name="connsiteY7" fmla="*/ 67228 h 632252"/>
                <a:gd name="connsiteX8" fmla="*/ 155336 w 601387"/>
                <a:gd name="connsiteY8" fmla="*/ 26134 h 632252"/>
                <a:gd name="connsiteX9" fmla="*/ 155347 w 601387"/>
                <a:gd name="connsiteY9" fmla="*/ 26134 h 632252"/>
                <a:gd name="connsiteX10" fmla="*/ 188073 w 601387"/>
                <a:gd name="connsiteY10" fmla="*/ 58844 h 632252"/>
                <a:gd name="connsiteX11" fmla="*/ 188073 w 601387"/>
                <a:gd name="connsiteY11" fmla="*/ 58858 h 632252"/>
                <a:gd name="connsiteX12" fmla="*/ 188073 w 601387"/>
                <a:gd name="connsiteY12" fmla="*/ 336445 h 632252"/>
                <a:gd name="connsiteX13" fmla="*/ 122623 w 601387"/>
                <a:gd name="connsiteY13" fmla="*/ 336445 h 632252"/>
                <a:gd name="connsiteX14" fmla="*/ 122623 w 601387"/>
                <a:gd name="connsiteY14" fmla="*/ 58858 h 632252"/>
                <a:gd name="connsiteX15" fmla="*/ 155336 w 601387"/>
                <a:gd name="connsiteY15" fmla="*/ 26134 h 632252"/>
                <a:gd name="connsiteX16" fmla="*/ 400975 w 601387"/>
                <a:gd name="connsiteY16" fmla="*/ 25842 h 632252"/>
                <a:gd name="connsiteX17" fmla="*/ 433986 w 601387"/>
                <a:gd name="connsiteY17" fmla="*/ 58265 h 632252"/>
                <a:gd name="connsiteX18" fmla="*/ 433986 w 601387"/>
                <a:gd name="connsiteY18" fmla="*/ 58852 h 632252"/>
                <a:gd name="connsiteX19" fmla="*/ 434049 w 601387"/>
                <a:gd name="connsiteY19" fmla="*/ 415881 h 632252"/>
                <a:gd name="connsiteX20" fmla="*/ 559488 w 601387"/>
                <a:gd name="connsiteY20" fmla="*/ 407225 h 632252"/>
                <a:gd name="connsiteX21" fmla="*/ 600082 w 601387"/>
                <a:gd name="connsiteY21" fmla="*/ 453502 h 632252"/>
                <a:gd name="connsiteX22" fmla="*/ 578359 w 601387"/>
                <a:gd name="connsiteY22" fmla="*/ 514025 h 632252"/>
                <a:gd name="connsiteX23" fmla="*/ 492306 w 601387"/>
                <a:gd name="connsiteY23" fmla="*/ 583757 h 632252"/>
                <a:gd name="connsiteX24" fmla="*/ 368270 w 601387"/>
                <a:gd name="connsiteY24" fmla="*/ 631937 h 632252"/>
                <a:gd name="connsiteX25" fmla="*/ 203607 w 601387"/>
                <a:gd name="connsiteY25" fmla="*/ 632252 h 632252"/>
                <a:gd name="connsiteX26" fmla="*/ 203607 w 601387"/>
                <a:gd name="connsiteY26" fmla="*/ 566800 h 632252"/>
                <a:gd name="connsiteX27" fmla="*/ 368206 w 601387"/>
                <a:gd name="connsiteY27" fmla="*/ 566800 h 632252"/>
                <a:gd name="connsiteX28" fmla="*/ 450325 w 601387"/>
                <a:gd name="connsiteY28" fmla="*/ 534958 h 632252"/>
                <a:gd name="connsiteX29" fmla="*/ 450325 w 601387"/>
                <a:gd name="connsiteY29" fmla="*/ 534961 h 632252"/>
                <a:gd name="connsiteX30" fmla="*/ 539684 w 601387"/>
                <a:gd name="connsiteY30" fmla="*/ 463011 h 632252"/>
                <a:gd name="connsiteX31" fmla="*/ 464351 w 601387"/>
                <a:gd name="connsiteY31" fmla="*/ 468976 h 632252"/>
                <a:gd name="connsiteX32" fmla="*/ 426210 w 601387"/>
                <a:gd name="connsiteY32" fmla="*/ 489674 h 632252"/>
                <a:gd name="connsiteX33" fmla="*/ 368663 w 601387"/>
                <a:gd name="connsiteY33" fmla="*/ 489392 h 632252"/>
                <a:gd name="connsiteX34" fmla="*/ 368552 w 601387"/>
                <a:gd name="connsiteY34" fmla="*/ 58852 h 632252"/>
                <a:gd name="connsiteX35" fmla="*/ 400975 w 601387"/>
                <a:gd name="connsiteY35" fmla="*/ 25842 h 632252"/>
                <a:gd name="connsiteX36" fmla="*/ 278349 w 601387"/>
                <a:gd name="connsiteY36" fmla="*/ 0 h 632252"/>
                <a:gd name="connsiteX37" fmla="*/ 280522 w 601387"/>
                <a:gd name="connsiteY37" fmla="*/ 73 h 632252"/>
                <a:gd name="connsiteX38" fmla="*/ 311059 w 601387"/>
                <a:gd name="connsiteY38" fmla="*/ 33953 h 632252"/>
                <a:gd name="connsiteX39" fmla="*/ 311059 w 601387"/>
                <a:gd name="connsiteY39" fmla="*/ 336442 h 632252"/>
                <a:gd name="connsiteX40" fmla="*/ 245625 w 601387"/>
                <a:gd name="connsiteY40" fmla="*/ 336442 h 632252"/>
                <a:gd name="connsiteX41" fmla="*/ 245625 w 601387"/>
                <a:gd name="connsiteY41" fmla="*/ 32719 h 632252"/>
                <a:gd name="connsiteX42" fmla="*/ 278349 w 601387"/>
                <a:gd name="connsiteY42" fmla="*/ 0 h 632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01387" h="632252">
                  <a:moveTo>
                    <a:pt x="32383" y="67228"/>
                  </a:moveTo>
                  <a:cubicBezTo>
                    <a:pt x="50431" y="67066"/>
                    <a:pt x="65193" y="81564"/>
                    <a:pt x="65354" y="99611"/>
                  </a:cubicBezTo>
                  <a:lnTo>
                    <a:pt x="65354" y="405626"/>
                  </a:lnTo>
                  <a:cubicBezTo>
                    <a:pt x="65381" y="437512"/>
                    <a:pt x="67889" y="469346"/>
                    <a:pt x="72864" y="500841"/>
                  </a:cubicBezTo>
                  <a:lnTo>
                    <a:pt x="6754" y="500968"/>
                  </a:lnTo>
                  <a:cubicBezTo>
                    <a:pt x="2268" y="469385"/>
                    <a:pt x="11" y="437525"/>
                    <a:pt x="0" y="405626"/>
                  </a:cubicBezTo>
                  <a:lnTo>
                    <a:pt x="0" y="99611"/>
                  </a:lnTo>
                  <a:cubicBezTo>
                    <a:pt x="161" y="81793"/>
                    <a:pt x="14565" y="67388"/>
                    <a:pt x="32383" y="67228"/>
                  </a:cubicBezTo>
                  <a:close/>
                  <a:moveTo>
                    <a:pt x="155336" y="26134"/>
                  </a:moveTo>
                  <a:cubicBezTo>
                    <a:pt x="155339" y="26134"/>
                    <a:pt x="155344" y="26134"/>
                    <a:pt x="155347" y="26134"/>
                  </a:cubicBezTo>
                  <a:cubicBezTo>
                    <a:pt x="173415" y="26130"/>
                    <a:pt x="188067" y="40775"/>
                    <a:pt x="188073" y="58844"/>
                  </a:cubicBezTo>
                  <a:cubicBezTo>
                    <a:pt x="188073" y="58849"/>
                    <a:pt x="188073" y="58853"/>
                    <a:pt x="188073" y="58858"/>
                  </a:cubicBezTo>
                  <a:lnTo>
                    <a:pt x="188073" y="336445"/>
                  </a:lnTo>
                  <a:lnTo>
                    <a:pt x="122623" y="336445"/>
                  </a:lnTo>
                  <a:lnTo>
                    <a:pt x="122623" y="58858"/>
                  </a:lnTo>
                  <a:cubicBezTo>
                    <a:pt x="122620" y="40788"/>
                    <a:pt x="137267" y="26137"/>
                    <a:pt x="155336" y="26134"/>
                  </a:cubicBezTo>
                  <a:close/>
                  <a:moveTo>
                    <a:pt x="400975" y="25842"/>
                  </a:moveTo>
                  <a:cubicBezTo>
                    <a:pt x="419044" y="25679"/>
                    <a:pt x="433825" y="40196"/>
                    <a:pt x="433986" y="58265"/>
                  </a:cubicBezTo>
                  <a:cubicBezTo>
                    <a:pt x="433989" y="58460"/>
                    <a:pt x="433989" y="58656"/>
                    <a:pt x="433986" y="58852"/>
                  </a:cubicBezTo>
                  <a:lnTo>
                    <a:pt x="434049" y="415881"/>
                  </a:lnTo>
                  <a:cubicBezTo>
                    <a:pt x="472708" y="395217"/>
                    <a:pt x="518357" y="392067"/>
                    <a:pt x="559488" y="407225"/>
                  </a:cubicBezTo>
                  <a:cubicBezTo>
                    <a:pt x="580115" y="414587"/>
                    <a:pt x="595472" y="432091"/>
                    <a:pt x="600082" y="453502"/>
                  </a:cubicBezTo>
                  <a:cubicBezTo>
                    <a:pt x="604825" y="476158"/>
                    <a:pt x="596428" y="499557"/>
                    <a:pt x="578359" y="514025"/>
                  </a:cubicBezTo>
                  <a:lnTo>
                    <a:pt x="492306" y="583757"/>
                  </a:lnTo>
                  <a:cubicBezTo>
                    <a:pt x="458453" y="614780"/>
                    <a:pt x="414190" y="631974"/>
                    <a:pt x="368270" y="631937"/>
                  </a:cubicBezTo>
                  <a:lnTo>
                    <a:pt x="203607" y="632252"/>
                  </a:lnTo>
                  <a:lnTo>
                    <a:pt x="203607" y="566800"/>
                  </a:lnTo>
                  <a:lnTo>
                    <a:pt x="368206" y="566800"/>
                  </a:lnTo>
                  <a:cubicBezTo>
                    <a:pt x="398580" y="566734"/>
                    <a:pt x="427847" y="555388"/>
                    <a:pt x="450325" y="534958"/>
                  </a:cubicBezTo>
                  <a:lnTo>
                    <a:pt x="450325" y="534961"/>
                  </a:lnTo>
                  <a:lnTo>
                    <a:pt x="539684" y="463011"/>
                  </a:lnTo>
                  <a:cubicBezTo>
                    <a:pt x="514681" y="455781"/>
                    <a:pt x="487904" y="457901"/>
                    <a:pt x="464351" y="468976"/>
                  </a:cubicBezTo>
                  <a:lnTo>
                    <a:pt x="426210" y="489674"/>
                  </a:lnTo>
                  <a:lnTo>
                    <a:pt x="368663" y="489392"/>
                  </a:lnTo>
                  <a:lnTo>
                    <a:pt x="368552" y="58852"/>
                  </a:lnTo>
                  <a:cubicBezTo>
                    <a:pt x="368391" y="40783"/>
                    <a:pt x="382906" y="26004"/>
                    <a:pt x="400975" y="25842"/>
                  </a:cubicBezTo>
                  <a:close/>
                  <a:moveTo>
                    <a:pt x="278349" y="0"/>
                  </a:moveTo>
                  <a:cubicBezTo>
                    <a:pt x="279072" y="0"/>
                    <a:pt x="279798" y="24"/>
                    <a:pt x="280522" y="73"/>
                  </a:cubicBezTo>
                  <a:cubicBezTo>
                    <a:pt x="297988" y="1652"/>
                    <a:pt x="311296" y="16415"/>
                    <a:pt x="311059" y="33953"/>
                  </a:cubicBezTo>
                  <a:lnTo>
                    <a:pt x="311059" y="336442"/>
                  </a:lnTo>
                  <a:lnTo>
                    <a:pt x="245625" y="336442"/>
                  </a:lnTo>
                  <a:lnTo>
                    <a:pt x="245625" y="32719"/>
                  </a:lnTo>
                  <a:cubicBezTo>
                    <a:pt x="245625" y="14648"/>
                    <a:pt x="260277" y="0"/>
                    <a:pt x="278349" y="0"/>
                  </a:cubicBezTo>
                  <a:close/>
                </a:path>
              </a:pathLst>
            </a:custGeom>
            <a:solidFill>
              <a:schemeClr val="accent4"/>
            </a:solidFill>
            <a:ln w="264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BE904057-65E7-42B4-A248-C96B698CF982}"/>
                </a:ext>
              </a:extLst>
            </p:cNvPr>
            <p:cNvSpPr/>
            <p:nvPr/>
          </p:nvSpPr>
          <p:spPr>
            <a:xfrm>
              <a:off x="8197848" y="43270"/>
              <a:ext cx="657418" cy="632314"/>
            </a:xfrm>
            <a:custGeom>
              <a:avLst/>
              <a:gdLst>
                <a:gd name="connsiteX0" fmla="*/ 653235 w 657418"/>
                <a:gd name="connsiteY0" fmla="*/ 382453 h 632314"/>
                <a:gd name="connsiteX1" fmla="*/ 652427 w 657418"/>
                <a:gd name="connsiteY1" fmla="*/ 380773 h 632314"/>
                <a:gd name="connsiteX2" fmla="*/ 583661 w 657418"/>
                <a:gd name="connsiteY2" fmla="*/ 272575 h 632314"/>
                <a:gd name="connsiteX3" fmla="*/ 581736 w 657418"/>
                <a:gd name="connsiteY3" fmla="*/ 232144 h 632314"/>
                <a:gd name="connsiteX4" fmla="*/ 499649 w 657418"/>
                <a:gd name="connsiteY4" fmla="*/ 77251 h 632314"/>
                <a:gd name="connsiteX5" fmla="*/ 295841 w 657418"/>
                <a:gd name="connsiteY5" fmla="*/ 62 h 632314"/>
                <a:gd name="connsiteX6" fmla="*/ 295731 w 657418"/>
                <a:gd name="connsiteY6" fmla="*/ 62 h 632314"/>
                <a:gd name="connsiteX7" fmla="*/ -3 w 657418"/>
                <a:gd name="connsiteY7" fmla="*/ 295795 h 632314"/>
                <a:gd name="connsiteX8" fmla="*/ -3 w 657418"/>
                <a:gd name="connsiteY8" fmla="*/ 295811 h 632314"/>
                <a:gd name="connsiteX9" fmla="*/ -3 w 657418"/>
                <a:gd name="connsiteY9" fmla="*/ 302042 h 632314"/>
                <a:gd name="connsiteX10" fmla="*/ 93898 w 657418"/>
                <a:gd name="connsiteY10" fmla="*/ 502510 h 632314"/>
                <a:gd name="connsiteX11" fmla="*/ 140761 w 657418"/>
                <a:gd name="connsiteY11" fmla="*/ 541570 h 632314"/>
                <a:gd name="connsiteX12" fmla="*/ 151967 w 657418"/>
                <a:gd name="connsiteY12" fmla="*/ 576123 h 632314"/>
                <a:gd name="connsiteX13" fmla="*/ 137682 w 657418"/>
                <a:gd name="connsiteY13" fmla="*/ 632312 h 632314"/>
                <a:gd name="connsiteX14" fmla="*/ 205183 w 657418"/>
                <a:gd name="connsiteY14" fmla="*/ 632312 h 632314"/>
                <a:gd name="connsiteX15" fmla="*/ 215339 w 657418"/>
                <a:gd name="connsiteY15" fmla="*/ 592040 h 632314"/>
                <a:gd name="connsiteX16" fmla="*/ 182956 w 657418"/>
                <a:gd name="connsiteY16" fmla="*/ 491924 h 632314"/>
                <a:gd name="connsiteX17" fmla="*/ 136077 w 657418"/>
                <a:gd name="connsiteY17" fmla="*/ 452863 h 632314"/>
                <a:gd name="connsiteX18" fmla="*/ 65431 w 657418"/>
                <a:gd name="connsiteY18" fmla="*/ 302042 h 632314"/>
                <a:gd name="connsiteX19" fmla="*/ 65431 w 657418"/>
                <a:gd name="connsiteY19" fmla="*/ 296703 h 632314"/>
                <a:gd name="connsiteX20" fmla="*/ 293734 w 657418"/>
                <a:gd name="connsiteY20" fmla="*/ 65573 h 632314"/>
                <a:gd name="connsiteX21" fmla="*/ 295746 w 657418"/>
                <a:gd name="connsiteY21" fmla="*/ 65570 h 632314"/>
                <a:gd name="connsiteX22" fmla="*/ 295841 w 657418"/>
                <a:gd name="connsiteY22" fmla="*/ 65570 h 632314"/>
                <a:gd name="connsiteX23" fmla="*/ 516736 w 657418"/>
                <a:gd name="connsiteY23" fmla="*/ 239373 h 632314"/>
                <a:gd name="connsiteX24" fmla="*/ 518088 w 657418"/>
                <a:gd name="connsiteY24" fmla="*/ 280206 h 632314"/>
                <a:gd name="connsiteX25" fmla="*/ 517639 w 657418"/>
                <a:gd name="connsiteY25" fmla="*/ 290387 h 632314"/>
                <a:gd name="connsiteX26" fmla="*/ 579067 w 657418"/>
                <a:gd name="connsiteY26" fmla="*/ 387029 h 632314"/>
                <a:gd name="connsiteX27" fmla="*/ 523699 w 657418"/>
                <a:gd name="connsiteY27" fmla="*/ 402541 h 632314"/>
                <a:gd name="connsiteX28" fmla="*/ 523762 w 657418"/>
                <a:gd name="connsiteY28" fmla="*/ 543136 h 632314"/>
                <a:gd name="connsiteX29" fmla="*/ 500058 w 657418"/>
                <a:gd name="connsiteY29" fmla="*/ 566855 h 632314"/>
                <a:gd name="connsiteX30" fmla="*/ 433682 w 657418"/>
                <a:gd name="connsiteY30" fmla="*/ 566855 h 632314"/>
                <a:gd name="connsiteX31" fmla="*/ 417330 w 657418"/>
                <a:gd name="connsiteY31" fmla="*/ 632305 h 632314"/>
                <a:gd name="connsiteX32" fmla="*/ 500845 w 657418"/>
                <a:gd name="connsiteY32" fmla="*/ 632305 h 632314"/>
                <a:gd name="connsiteX33" fmla="*/ 589164 w 657418"/>
                <a:gd name="connsiteY33" fmla="*/ 544018 h 632314"/>
                <a:gd name="connsiteX34" fmla="*/ 589164 w 657418"/>
                <a:gd name="connsiteY34" fmla="*/ 543954 h 632314"/>
                <a:gd name="connsiteX35" fmla="*/ 589135 w 657418"/>
                <a:gd name="connsiteY35" fmla="*/ 451538 h 632314"/>
                <a:gd name="connsiteX36" fmla="*/ 626999 w 657418"/>
                <a:gd name="connsiteY36" fmla="*/ 440936 h 632314"/>
                <a:gd name="connsiteX37" fmla="*/ 627572 w 657418"/>
                <a:gd name="connsiteY37" fmla="*/ 440765 h 632314"/>
                <a:gd name="connsiteX38" fmla="*/ 655638 w 657418"/>
                <a:gd name="connsiteY38" fmla="*/ 388626 h 632314"/>
                <a:gd name="connsiteX39" fmla="*/ 653235 w 657418"/>
                <a:gd name="connsiteY39" fmla="*/ 382447 h 632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57418" h="632314">
                  <a:moveTo>
                    <a:pt x="653235" y="382453"/>
                  </a:moveTo>
                  <a:lnTo>
                    <a:pt x="652427" y="380773"/>
                  </a:lnTo>
                  <a:lnTo>
                    <a:pt x="583661" y="272575"/>
                  </a:lnTo>
                  <a:cubicBezTo>
                    <a:pt x="583796" y="259071"/>
                    <a:pt x="583154" y="245573"/>
                    <a:pt x="581736" y="232144"/>
                  </a:cubicBezTo>
                  <a:cubicBezTo>
                    <a:pt x="573366" y="172490"/>
                    <a:pt x="544313" y="117670"/>
                    <a:pt x="499649" y="77251"/>
                  </a:cubicBezTo>
                  <a:cubicBezTo>
                    <a:pt x="444241" y="26148"/>
                    <a:pt x="371201" y="-1515"/>
                    <a:pt x="295841" y="62"/>
                  </a:cubicBezTo>
                  <a:lnTo>
                    <a:pt x="295731" y="62"/>
                  </a:lnTo>
                  <a:cubicBezTo>
                    <a:pt x="132402" y="62"/>
                    <a:pt x="-3" y="132466"/>
                    <a:pt x="-3" y="295795"/>
                  </a:cubicBezTo>
                  <a:cubicBezTo>
                    <a:pt x="-3" y="295800"/>
                    <a:pt x="-3" y="295806"/>
                    <a:pt x="-3" y="295811"/>
                  </a:cubicBezTo>
                  <a:lnTo>
                    <a:pt x="-3" y="302042"/>
                  </a:lnTo>
                  <a:cubicBezTo>
                    <a:pt x="-105" y="379511"/>
                    <a:pt x="34316" y="452998"/>
                    <a:pt x="93898" y="502510"/>
                  </a:cubicBezTo>
                  <a:lnTo>
                    <a:pt x="140761" y="541570"/>
                  </a:lnTo>
                  <a:cubicBezTo>
                    <a:pt x="150812" y="549988"/>
                    <a:pt x="155165" y="563409"/>
                    <a:pt x="151967" y="576123"/>
                  </a:cubicBezTo>
                  <a:lnTo>
                    <a:pt x="137682" y="632312"/>
                  </a:lnTo>
                  <a:lnTo>
                    <a:pt x="205183" y="632312"/>
                  </a:lnTo>
                  <a:lnTo>
                    <a:pt x="215339" y="592040"/>
                  </a:lnTo>
                  <a:cubicBezTo>
                    <a:pt x="224604" y="555221"/>
                    <a:pt x="212030" y="516343"/>
                    <a:pt x="182956" y="491924"/>
                  </a:cubicBezTo>
                  <a:lnTo>
                    <a:pt x="136077" y="452863"/>
                  </a:lnTo>
                  <a:cubicBezTo>
                    <a:pt x="91248" y="415614"/>
                    <a:pt x="65351" y="360325"/>
                    <a:pt x="65431" y="302042"/>
                  </a:cubicBezTo>
                  <a:lnTo>
                    <a:pt x="65431" y="296703"/>
                  </a:lnTo>
                  <a:cubicBezTo>
                    <a:pt x="64650" y="169834"/>
                    <a:pt x="166865" y="66354"/>
                    <a:pt x="293734" y="65573"/>
                  </a:cubicBezTo>
                  <a:cubicBezTo>
                    <a:pt x="294405" y="65569"/>
                    <a:pt x="295076" y="65568"/>
                    <a:pt x="295746" y="65570"/>
                  </a:cubicBezTo>
                  <a:lnTo>
                    <a:pt x="295841" y="65570"/>
                  </a:lnTo>
                  <a:cubicBezTo>
                    <a:pt x="435190" y="65570"/>
                    <a:pt x="508577" y="166829"/>
                    <a:pt x="516736" y="239373"/>
                  </a:cubicBezTo>
                  <a:cubicBezTo>
                    <a:pt x="518109" y="252937"/>
                    <a:pt x="518560" y="266581"/>
                    <a:pt x="518088" y="280206"/>
                  </a:cubicBezTo>
                  <a:lnTo>
                    <a:pt x="517639" y="290387"/>
                  </a:lnTo>
                  <a:lnTo>
                    <a:pt x="579067" y="387029"/>
                  </a:lnTo>
                  <a:lnTo>
                    <a:pt x="523699" y="402541"/>
                  </a:lnTo>
                  <a:lnTo>
                    <a:pt x="523762" y="543136"/>
                  </a:lnTo>
                  <a:cubicBezTo>
                    <a:pt x="523762" y="556230"/>
                    <a:pt x="513152" y="566847"/>
                    <a:pt x="500058" y="566855"/>
                  </a:cubicBezTo>
                  <a:lnTo>
                    <a:pt x="433682" y="566855"/>
                  </a:lnTo>
                  <a:lnTo>
                    <a:pt x="417330" y="632305"/>
                  </a:lnTo>
                  <a:lnTo>
                    <a:pt x="500845" y="632305"/>
                  </a:lnTo>
                  <a:cubicBezTo>
                    <a:pt x="549615" y="632312"/>
                    <a:pt x="589156" y="592787"/>
                    <a:pt x="589164" y="544018"/>
                  </a:cubicBezTo>
                  <a:cubicBezTo>
                    <a:pt x="589164" y="543997"/>
                    <a:pt x="589164" y="543976"/>
                    <a:pt x="589164" y="543954"/>
                  </a:cubicBezTo>
                  <a:lnTo>
                    <a:pt x="589135" y="451538"/>
                  </a:lnTo>
                  <a:lnTo>
                    <a:pt x="626999" y="440936"/>
                  </a:lnTo>
                  <a:lnTo>
                    <a:pt x="627572" y="440765"/>
                  </a:lnTo>
                  <a:cubicBezTo>
                    <a:pt x="649720" y="434116"/>
                    <a:pt x="662284" y="410772"/>
                    <a:pt x="655638" y="388626"/>
                  </a:cubicBezTo>
                  <a:cubicBezTo>
                    <a:pt x="655001" y="386506"/>
                    <a:pt x="654199" y="384441"/>
                    <a:pt x="653235" y="382447"/>
                  </a:cubicBezTo>
                </a:path>
              </a:pathLst>
            </a:custGeom>
            <a:solidFill>
              <a:schemeClr val="accent5"/>
            </a:solidFill>
            <a:ln w="264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  <p:sp>
        <p:nvSpPr>
          <p:cNvPr id="23" name="Rectangle 15">
            <a:extLst>
              <a:ext uri="{FF2B5EF4-FFF2-40B4-BE49-F238E27FC236}">
                <a16:creationId xmlns:a16="http://schemas.microsoft.com/office/drawing/2014/main" id="{583395CB-4C1C-435C-840C-42D68557E967}"/>
              </a:ext>
            </a:extLst>
          </p:cNvPr>
          <p:cNvSpPr/>
          <p:nvPr userDrawn="1"/>
        </p:nvSpPr>
        <p:spPr>
          <a:xfrm>
            <a:off x="706055" y="-695325"/>
            <a:ext cx="4618419" cy="525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Title slid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57492016-5F5C-409F-9D5B-CC599EB0CD4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076450" y="3032114"/>
            <a:ext cx="1724025" cy="469900"/>
          </a:xfrm>
        </p:spPr>
        <p:txBody>
          <a:bodyPr anchor="b"/>
          <a:lstStyle>
            <a:lvl1pPr rtl="0">
              <a:defRPr sz="800"/>
            </a:lvl1pPr>
          </a:lstStyle>
          <a:p>
            <a:r>
              <a:rPr lang="en-US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534231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(zwei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2179572-B27F-45EB-87DA-9B8D72AF40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1327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2179572-B27F-45EB-87DA-9B8D72AF40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88D69A0-B033-40C4-9014-38DA954C6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085846"/>
            <a:ext cx="11376024" cy="80010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9DFC123-845D-4941-BE60-32806CE341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numCol="2" spcCol="144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BB9B651-00D9-4C74-95D7-EC67DE72E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6056" y="0"/>
            <a:ext cx="4140200" cy="40680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Chapter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E74A6AB-DC23-470E-8DAF-B814D76E1A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771527"/>
            <a:ext cx="11376024" cy="288000"/>
          </a:xfrm>
        </p:spPr>
        <p:txBody>
          <a:bodyPr/>
          <a:lstStyle>
            <a:lvl1pPr marL="0" indent="0" rtl="0">
              <a:lnSpc>
                <a:spcPct val="100000"/>
              </a:lnSpc>
              <a:buNone/>
              <a:defRPr sz="1600"/>
            </a:lvl1pPr>
            <a:lvl2pPr marL="92075" indent="0">
              <a:buNone/>
              <a:defRPr/>
            </a:lvl2pPr>
          </a:lstStyle>
          <a:p>
            <a:pPr lvl="0"/>
            <a:r>
              <a:rPr lang="en-US" err="1"/>
              <a:t>Subheadline</a:t>
            </a:r>
            <a:endParaRPr lang="en-US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36D77CD8-A92B-4224-BE50-65BAD8F471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812" y="6275820"/>
            <a:ext cx="11376024" cy="214312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 marL="0" indent="0" rtl="0">
              <a:buNone/>
              <a:defRPr lang="en-US" sz="1000" i="1" dirty="0">
                <a:solidFill>
                  <a:srgbClr val="818181"/>
                </a:solidFill>
              </a:defRPr>
            </a:lvl1pPr>
          </a:lstStyle>
          <a:p>
            <a:r>
              <a:rPr lang="en-US" sz="1000" i="1">
                <a:solidFill>
                  <a:srgbClr val="818181"/>
                </a:solidFill>
              </a:rPr>
              <a:t>Source: This is an example where sources are placed.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6B2BE4EA-C18D-4A26-A652-035C63A0E9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8626" y="95400"/>
            <a:ext cx="216000" cy="216000"/>
          </a:xfrm>
          <a:noFill/>
        </p:spPr>
        <p:txBody>
          <a:bodyPr vert="horz" lIns="0" tIns="0" rIns="0" bIns="0" rtlCol="0" anchor="ctr"/>
          <a:lstStyle>
            <a:lvl1pPr marL="0" indent="0" algn="l" rtl="0">
              <a:lnSpc>
                <a:spcPct val="100000"/>
              </a:lnSpc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algn="ctr"/>
            <a:r>
              <a:rPr lang="en-US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26620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4BAF6E8-F4DB-47B6-8E62-5CF69A2F89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9226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4BAF6E8-F4DB-47B6-8E62-5CF69A2F89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4657452-7D67-47E3-8C09-2C1DC5630E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86" y="1085846"/>
            <a:ext cx="11376000" cy="80010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E3B6E3-860F-40D2-82F8-FC99969CD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hapter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3440A8F8-6CF4-4BD7-B172-501E98D47A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186" y="771527"/>
            <a:ext cx="11376000" cy="288000"/>
          </a:xfrm>
        </p:spPr>
        <p:txBody>
          <a:bodyPr/>
          <a:lstStyle>
            <a:lvl1pPr marL="0" indent="0" rtl="0">
              <a:lnSpc>
                <a:spcPct val="100000"/>
              </a:lnSpc>
              <a:buNone/>
              <a:defRPr sz="1600"/>
            </a:lvl1pPr>
            <a:lvl2pPr marL="92075" indent="0">
              <a:buNone/>
              <a:defRPr/>
            </a:lvl2pPr>
          </a:lstStyle>
          <a:p>
            <a:pPr lvl="0"/>
            <a:r>
              <a:rPr lang="en-US" err="1"/>
              <a:t>Subheadline</a:t>
            </a:r>
            <a:endParaRPr lang="en-US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FFC19F35-03A2-467F-A31E-64DBA60BFD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812" y="6276976"/>
            <a:ext cx="11376024" cy="214312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 marL="0" indent="0" rtl="0">
              <a:buNone/>
              <a:defRPr lang="en-US" sz="1000" i="1" dirty="0">
                <a:solidFill>
                  <a:srgbClr val="818181"/>
                </a:solidFill>
              </a:defRPr>
            </a:lvl1pPr>
          </a:lstStyle>
          <a:p>
            <a:r>
              <a:rPr lang="en-US" sz="1000" i="1">
                <a:solidFill>
                  <a:srgbClr val="818181"/>
                </a:solidFill>
              </a:rPr>
              <a:t>Source: This is an example where sources are placed.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D1405FBC-239E-4DE2-949D-F61114C158F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8626" y="95400"/>
            <a:ext cx="216000" cy="216000"/>
          </a:xfrm>
          <a:noFill/>
        </p:spPr>
        <p:txBody>
          <a:bodyPr vert="horz" lIns="0" tIns="0" rIns="0" bIns="0" rtlCol="0" anchor="ctr"/>
          <a:lstStyle>
            <a:lvl1pPr marL="0" indent="0" algn="l" rtl="0">
              <a:lnSpc>
                <a:spcPct val="100000"/>
              </a:lnSpc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algn="ctr"/>
            <a:r>
              <a:rPr lang="en-US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863811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968D49-3A99-44F9-8A94-297A020965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4810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968D49-3A99-44F9-8A94-297A020965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88D69A0-B033-40C4-9014-38DA954C6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085846"/>
            <a:ext cx="11376024" cy="80010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9DFC123-845D-4941-BE60-32806CE341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955802"/>
            <a:ext cx="5616575" cy="413067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BB9B651-00D9-4C74-95D7-EC67DE72E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6056" y="0"/>
            <a:ext cx="4453319" cy="40680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Chapter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E74A6AB-DC23-470E-8DAF-B814D76E1A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771527"/>
            <a:ext cx="11376022" cy="288000"/>
          </a:xfrm>
        </p:spPr>
        <p:txBody>
          <a:bodyPr/>
          <a:lstStyle>
            <a:lvl1pPr marL="0" indent="0" rtl="0">
              <a:lnSpc>
                <a:spcPct val="100000"/>
              </a:lnSpc>
              <a:buNone/>
              <a:defRPr sz="1600"/>
            </a:lvl1pPr>
            <a:lvl2pPr marL="92075" indent="0">
              <a:buNone/>
              <a:defRPr/>
            </a:lvl2pPr>
          </a:lstStyle>
          <a:p>
            <a:pPr lvl="0"/>
            <a:r>
              <a:rPr lang="en-US" err="1"/>
              <a:t>Subheadline</a:t>
            </a:r>
            <a:endParaRPr lang="en-US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304CB01-9BE9-4DF8-9F63-B36828AE50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7437" y="1955802"/>
            <a:ext cx="5616575" cy="413702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871EDFCD-A49C-412B-A535-6482D4CDFB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812" y="6276976"/>
            <a:ext cx="11376024" cy="214312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 marL="0" indent="0" rtl="0">
              <a:buNone/>
              <a:defRPr lang="en-US" sz="1000" i="1" dirty="0">
                <a:solidFill>
                  <a:srgbClr val="818181"/>
                </a:solidFill>
              </a:defRPr>
            </a:lvl1pPr>
          </a:lstStyle>
          <a:p>
            <a:r>
              <a:rPr lang="en-US" sz="1000" i="1">
                <a:solidFill>
                  <a:srgbClr val="818181"/>
                </a:solidFill>
              </a:rPr>
              <a:t>Source: This is an example where sources are placed.</a:t>
            </a:r>
          </a:p>
        </p:txBody>
      </p:sp>
      <p:sp>
        <p:nvSpPr>
          <p:cNvPr id="12" name="Text Placeholder 17">
            <a:extLst>
              <a:ext uri="{FF2B5EF4-FFF2-40B4-BE49-F238E27FC236}">
                <a16:creationId xmlns:a16="http://schemas.microsoft.com/office/drawing/2014/main" id="{F352873B-72E9-4D93-BC69-DB4ECC4AF3E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8626" y="95400"/>
            <a:ext cx="216000" cy="216000"/>
          </a:xfrm>
          <a:noFill/>
        </p:spPr>
        <p:txBody>
          <a:bodyPr vert="horz" lIns="0" tIns="0" rIns="0" bIns="0" rtlCol="0" anchor="ctr"/>
          <a:lstStyle>
            <a:lvl1pPr marL="0" indent="0" algn="l" rtl="0">
              <a:lnSpc>
                <a:spcPct val="100000"/>
              </a:lnSpc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algn="ctr"/>
            <a:r>
              <a:rPr lang="en-US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40293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9F27CCD-7E85-471F-AC90-E3B174C7F4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374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9F27CCD-7E85-471F-AC90-E3B174C7F4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7B0B74-6DFF-4DDB-B8F7-E1BD509AE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hapter</a:t>
            </a:r>
          </a:p>
        </p:txBody>
      </p:sp>
      <p:sp>
        <p:nvSpPr>
          <p:cNvPr id="4" name="Text Placeholder 17">
            <a:extLst>
              <a:ext uri="{FF2B5EF4-FFF2-40B4-BE49-F238E27FC236}">
                <a16:creationId xmlns:a16="http://schemas.microsoft.com/office/drawing/2014/main" id="{A8C9C606-2BBF-4737-9817-9719B46052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8626" y="95400"/>
            <a:ext cx="216000" cy="216000"/>
          </a:xfrm>
          <a:noFill/>
        </p:spPr>
        <p:txBody>
          <a:bodyPr vert="horz" lIns="0" tIns="0" rIns="0" bIns="0" rtlCol="0" anchor="ctr"/>
          <a:lstStyle>
            <a:lvl1pPr marL="0" indent="0" algn="l" rtl="0">
              <a:lnSpc>
                <a:spcPct val="100000"/>
              </a:lnSpc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algn="ctr"/>
            <a:r>
              <a:rPr lang="en-US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970352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pictur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E69FE6E-571A-4834-A458-9C4AB31C94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0837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E69FE6E-571A-4834-A458-9C4AB31C9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88D69A0-B033-40C4-9014-38DA954C6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085846"/>
            <a:ext cx="11372850" cy="80010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BB9B651-00D9-4C74-95D7-EC67DE72E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hapter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E74A6AB-DC23-470E-8DAF-B814D76E1A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771527"/>
            <a:ext cx="11372850" cy="288000"/>
          </a:xfrm>
        </p:spPr>
        <p:txBody>
          <a:bodyPr/>
          <a:lstStyle>
            <a:lvl1pPr marL="0" indent="0" rtl="0">
              <a:lnSpc>
                <a:spcPct val="100000"/>
              </a:lnSpc>
              <a:buNone/>
              <a:defRPr sz="1600"/>
            </a:lvl1pPr>
            <a:lvl2pPr marL="92075" indent="0">
              <a:buNone/>
              <a:defRPr/>
            </a:lvl2pPr>
          </a:lstStyle>
          <a:p>
            <a:pPr lvl="0"/>
            <a:r>
              <a:rPr lang="en-US" err="1"/>
              <a:t>Subheadline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624EEE1-5367-40CE-8133-CD209723CA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7437" y="1955800"/>
            <a:ext cx="5616576" cy="41370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C718957-5F41-46E3-B144-0A8DC86560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7988" y="1955800"/>
            <a:ext cx="5616575" cy="2947988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12" name="Text Placeholder 17">
            <a:extLst>
              <a:ext uri="{FF2B5EF4-FFF2-40B4-BE49-F238E27FC236}">
                <a16:creationId xmlns:a16="http://schemas.microsoft.com/office/drawing/2014/main" id="{B07BECA4-E82E-4999-A68F-96DADF042C0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8626" y="95400"/>
            <a:ext cx="216000" cy="216000"/>
          </a:xfrm>
          <a:noFill/>
        </p:spPr>
        <p:txBody>
          <a:bodyPr vert="horz" lIns="0" tIns="0" rIns="0" bIns="0" rtlCol="0" anchor="ctr"/>
          <a:lstStyle>
            <a:lvl1pPr marL="0" indent="0" algn="l" rtl="0">
              <a:lnSpc>
                <a:spcPct val="100000"/>
              </a:lnSpc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algn="ctr"/>
            <a:r>
              <a:rPr lang="en-US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207334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46D448B-F456-42B7-B3E1-7BF040AF43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9449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46D448B-F456-42B7-B3E1-7BF040AF43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5">
            <a:extLst>
              <a:ext uri="{FF2B5EF4-FFF2-40B4-BE49-F238E27FC236}">
                <a16:creationId xmlns:a16="http://schemas.microsoft.com/office/drawing/2014/main" id="{A114A465-0798-4AEF-B8B9-85174260A50E}"/>
              </a:ext>
            </a:extLst>
          </p:cNvPr>
          <p:cNvSpPr/>
          <p:nvPr userDrawn="1"/>
        </p:nvSpPr>
        <p:spPr>
          <a:xfrm>
            <a:off x="706056" y="-695325"/>
            <a:ext cx="3770694" cy="525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Visual break in chapters (e.g. summary)</a:t>
            </a:r>
          </a:p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or CV for one pers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88D69A0-B033-40C4-9014-38DA954C6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7439" y="1085846"/>
            <a:ext cx="5616576" cy="80010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9DFC123-845D-4941-BE60-32806CE341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67437" y="1955802"/>
            <a:ext cx="5616576" cy="413702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BB9B651-00D9-4C74-95D7-EC67DE72E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hapter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E74A6AB-DC23-470E-8DAF-B814D76E1A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67438" y="771527"/>
            <a:ext cx="5616576" cy="288000"/>
          </a:xfrm>
        </p:spPr>
        <p:txBody>
          <a:bodyPr/>
          <a:lstStyle>
            <a:lvl1pPr marL="0" indent="0" rtl="0">
              <a:lnSpc>
                <a:spcPct val="100000"/>
              </a:lnSpc>
              <a:buNone/>
              <a:defRPr sz="1600"/>
            </a:lvl1pPr>
            <a:lvl2pPr marL="92075" indent="0">
              <a:buNone/>
              <a:defRPr/>
            </a:lvl2pPr>
          </a:lstStyle>
          <a:p>
            <a:pPr lvl="0"/>
            <a:r>
              <a:rPr lang="en-US" err="1"/>
              <a:t>Subheadline</a:t>
            </a:r>
            <a:endParaRPr lang="en-US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780BABB6-A779-4A71-AE88-359EAD1EB1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7438" y="6092826"/>
            <a:ext cx="5616575" cy="360362"/>
          </a:xfrm>
        </p:spPr>
        <p:txBody>
          <a:bodyPr anchor="b"/>
          <a:lstStyle>
            <a:lvl1pPr marL="0" indent="0" rtl="0">
              <a:lnSpc>
                <a:spcPct val="120000"/>
              </a:lnSpc>
              <a:buNone/>
              <a:defRPr sz="1000"/>
            </a:lvl1pPr>
            <a:lvl2pPr marL="92075" indent="0">
              <a:buNone/>
              <a:defRPr/>
            </a:lvl2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8EE838C-E10F-4B59-9011-A60E0F23A5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04812"/>
            <a:ext cx="5159375" cy="6453187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24023E1A-D032-4DE7-8D1A-F40FD0EFCA1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8626" y="95400"/>
            <a:ext cx="216000" cy="216000"/>
          </a:xfrm>
          <a:noFill/>
        </p:spPr>
        <p:txBody>
          <a:bodyPr vert="horz" lIns="0" tIns="0" rIns="0" bIns="0" rtlCol="0" anchor="ctr"/>
          <a:lstStyle>
            <a:lvl1pPr marL="0" indent="0" algn="l" rtl="0">
              <a:lnSpc>
                <a:spcPct val="100000"/>
              </a:lnSpc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algn="ctr"/>
            <a:r>
              <a:rPr lang="en-US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69017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righ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B8A85CA0-C9FA-4724-B882-3C839E0393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343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B8A85CA0-C9FA-4724-B882-3C839E0393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5">
            <a:extLst>
              <a:ext uri="{FF2B5EF4-FFF2-40B4-BE49-F238E27FC236}">
                <a16:creationId xmlns:a16="http://schemas.microsoft.com/office/drawing/2014/main" id="{AA7D38F9-6D8E-4F41-BFD5-E5804B42A8DE}"/>
              </a:ext>
            </a:extLst>
          </p:cNvPr>
          <p:cNvSpPr/>
          <p:nvPr userDrawn="1"/>
        </p:nvSpPr>
        <p:spPr>
          <a:xfrm>
            <a:off x="706056" y="-695325"/>
            <a:ext cx="3770694" cy="525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Visual break in chapters (e.g. summary)</a:t>
            </a:r>
          </a:p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or CV for one pers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88D69A0-B033-40C4-9014-38DA954C6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1085846"/>
            <a:ext cx="5616575" cy="80010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9DFC123-845D-4941-BE60-32806CE341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955802"/>
            <a:ext cx="5616575" cy="413702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BB9B651-00D9-4C74-95D7-EC67DE72E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hapter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E74A6AB-DC23-470E-8DAF-B814D76E1A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9" y="771527"/>
            <a:ext cx="5616575" cy="288000"/>
          </a:xfrm>
        </p:spPr>
        <p:txBody>
          <a:bodyPr/>
          <a:lstStyle>
            <a:lvl1pPr marL="0" indent="0" rtl="0">
              <a:lnSpc>
                <a:spcPct val="100000"/>
              </a:lnSpc>
              <a:buNone/>
              <a:defRPr sz="1600"/>
            </a:lvl1pPr>
            <a:lvl2pPr marL="92075" indent="0">
              <a:buNone/>
              <a:defRPr/>
            </a:lvl2pPr>
          </a:lstStyle>
          <a:p>
            <a:pPr lvl="0"/>
            <a:r>
              <a:rPr lang="en-US" err="1"/>
              <a:t>Subheadline</a:t>
            </a:r>
            <a:endParaRPr lang="en-US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780BABB6-A779-4A71-AE88-359EAD1EB1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9" y="6086473"/>
            <a:ext cx="5616573" cy="366715"/>
          </a:xfrm>
        </p:spPr>
        <p:txBody>
          <a:bodyPr anchor="b"/>
          <a:lstStyle>
            <a:lvl1pPr marL="0" indent="0" rtl="0">
              <a:lnSpc>
                <a:spcPct val="120000"/>
              </a:lnSpc>
              <a:buNone/>
              <a:defRPr sz="1000"/>
            </a:lvl1pPr>
            <a:lvl2pPr marL="92075" indent="0">
              <a:buNone/>
              <a:defRPr/>
            </a:lvl2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8EE838C-E10F-4B59-9011-A60E0F23A5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032627" y="404812"/>
            <a:ext cx="5159373" cy="6453187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A1E6ECAA-E340-4823-8FA9-058161E40B4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8626" y="95400"/>
            <a:ext cx="216000" cy="216000"/>
          </a:xfrm>
          <a:noFill/>
        </p:spPr>
        <p:txBody>
          <a:bodyPr vert="horz" lIns="0" tIns="0" rIns="0" bIns="0" rtlCol="0" anchor="ctr"/>
          <a:lstStyle>
            <a:lvl1pPr marL="0" indent="0" algn="l" rtl="0">
              <a:lnSpc>
                <a:spcPct val="100000"/>
              </a:lnSpc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algn="ctr"/>
            <a:r>
              <a:rPr lang="en-US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54708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right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B8A85CA0-C9FA-4724-B882-3C839E0393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1771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B8A85CA0-C9FA-4724-B882-3C839E0393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5">
            <a:extLst>
              <a:ext uri="{FF2B5EF4-FFF2-40B4-BE49-F238E27FC236}">
                <a16:creationId xmlns:a16="http://schemas.microsoft.com/office/drawing/2014/main" id="{AA7D38F9-6D8E-4F41-BFD5-E5804B42A8DE}"/>
              </a:ext>
            </a:extLst>
          </p:cNvPr>
          <p:cNvSpPr/>
          <p:nvPr userDrawn="1"/>
        </p:nvSpPr>
        <p:spPr>
          <a:xfrm>
            <a:off x="706056" y="-695325"/>
            <a:ext cx="3770694" cy="525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Visual break in chapters (e.g. summary)</a:t>
            </a:r>
          </a:p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or CV for one pers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88D69A0-B033-40C4-9014-38DA954C6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0" y="1085846"/>
            <a:ext cx="5616575" cy="80010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9DFC123-845D-4941-BE60-32806CE341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955802"/>
            <a:ext cx="5616575" cy="413702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BB9B651-00D9-4C74-95D7-EC67DE72E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hapter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E74A6AB-DC23-470E-8DAF-B814D76E1A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9" y="771527"/>
            <a:ext cx="5616575" cy="288000"/>
          </a:xfrm>
        </p:spPr>
        <p:txBody>
          <a:bodyPr/>
          <a:lstStyle>
            <a:lvl1pPr marL="0" indent="0" rtl="0">
              <a:lnSpc>
                <a:spcPct val="100000"/>
              </a:lnSpc>
              <a:buNone/>
              <a:defRPr sz="1600"/>
            </a:lvl1pPr>
            <a:lvl2pPr marL="92075" indent="0">
              <a:buNone/>
              <a:defRPr/>
            </a:lvl2pPr>
          </a:lstStyle>
          <a:p>
            <a:pPr lvl="0"/>
            <a:r>
              <a:rPr lang="en-US" err="1"/>
              <a:t>Subheadline</a:t>
            </a:r>
            <a:endParaRPr lang="en-US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780BABB6-A779-4A71-AE88-359EAD1EB1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9" y="6086473"/>
            <a:ext cx="5616573" cy="366715"/>
          </a:xfrm>
        </p:spPr>
        <p:txBody>
          <a:bodyPr anchor="b"/>
          <a:lstStyle>
            <a:lvl1pPr marL="0" indent="0" rtl="0">
              <a:lnSpc>
                <a:spcPct val="120000"/>
              </a:lnSpc>
              <a:buNone/>
              <a:defRPr sz="1000"/>
            </a:lvl1pPr>
            <a:lvl2pPr marL="92075" indent="0">
              <a:buNone/>
              <a:defRPr/>
            </a:lvl2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8EE838C-E10F-4B59-9011-A60E0F23A5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032627" y="404812"/>
            <a:ext cx="5159373" cy="6453187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A1E6ECAA-E340-4823-8FA9-058161E40B4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8626" y="95400"/>
            <a:ext cx="216000" cy="216000"/>
          </a:xfrm>
          <a:noFill/>
        </p:spPr>
        <p:txBody>
          <a:bodyPr vert="horz" lIns="0" tIns="0" rIns="0" bIns="0" rtlCol="0" anchor="ctr"/>
          <a:lstStyle>
            <a:lvl1pPr marL="0" indent="0" algn="l" rtl="0">
              <a:lnSpc>
                <a:spcPct val="100000"/>
              </a:lnSpc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algn="ctr"/>
            <a:r>
              <a:rPr lang="en-US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29586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right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B8A85CA0-C9FA-4724-B882-3C839E0393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022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B8A85CA0-C9FA-4724-B882-3C839E0393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5">
            <a:extLst>
              <a:ext uri="{FF2B5EF4-FFF2-40B4-BE49-F238E27FC236}">
                <a16:creationId xmlns:a16="http://schemas.microsoft.com/office/drawing/2014/main" id="{AA7D38F9-6D8E-4F41-BFD5-E5804B42A8DE}"/>
              </a:ext>
            </a:extLst>
          </p:cNvPr>
          <p:cNvSpPr/>
          <p:nvPr userDrawn="1"/>
        </p:nvSpPr>
        <p:spPr>
          <a:xfrm>
            <a:off x="706056" y="-695325"/>
            <a:ext cx="3770694" cy="525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Visual break in chapters (e.g. summary)</a:t>
            </a:r>
          </a:p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or CV for one pers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88D69A0-B033-40C4-9014-38DA954C6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1" y="1085846"/>
            <a:ext cx="3857080" cy="80010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9DFC123-845D-4941-BE60-32806CE341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9" y="1955802"/>
            <a:ext cx="3857080" cy="413702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BB9B651-00D9-4C74-95D7-EC67DE72E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hapter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E74A6AB-DC23-470E-8DAF-B814D76E1A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90" y="771527"/>
            <a:ext cx="3857080" cy="288000"/>
          </a:xfrm>
        </p:spPr>
        <p:txBody>
          <a:bodyPr/>
          <a:lstStyle>
            <a:lvl1pPr marL="0" indent="0" rtl="0">
              <a:lnSpc>
                <a:spcPct val="100000"/>
              </a:lnSpc>
              <a:buNone/>
              <a:defRPr sz="1600"/>
            </a:lvl1pPr>
            <a:lvl2pPr marL="92075" indent="0">
              <a:buNone/>
              <a:defRPr/>
            </a:lvl2pPr>
          </a:lstStyle>
          <a:p>
            <a:pPr lvl="0"/>
            <a:r>
              <a:rPr lang="en-US" err="1"/>
              <a:t>Subheadline</a:t>
            </a:r>
            <a:endParaRPr lang="en-US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780BABB6-A779-4A71-AE88-359EAD1EB1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9" y="6086473"/>
            <a:ext cx="3857079" cy="366715"/>
          </a:xfrm>
        </p:spPr>
        <p:txBody>
          <a:bodyPr anchor="b"/>
          <a:lstStyle>
            <a:lvl1pPr marL="0" indent="0" rtl="0">
              <a:lnSpc>
                <a:spcPct val="120000"/>
              </a:lnSpc>
              <a:buNone/>
              <a:defRPr sz="1000"/>
            </a:lvl1pPr>
            <a:lvl2pPr marL="92075" indent="0">
              <a:buNone/>
              <a:defRPr/>
            </a:lvl2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8EE838C-E10F-4B59-9011-A60E0F23A5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68000" y="404812"/>
            <a:ext cx="7524000" cy="6453187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A1E6ECAA-E340-4823-8FA9-058161E40B4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8626" y="95400"/>
            <a:ext cx="216000" cy="216000"/>
          </a:xfrm>
          <a:noFill/>
        </p:spPr>
        <p:txBody>
          <a:bodyPr vert="horz" lIns="0" tIns="0" rIns="0" bIns="0" rtlCol="0" anchor="ctr"/>
          <a:lstStyle>
            <a:lvl1pPr marL="0" indent="0" algn="l" rtl="0">
              <a:lnSpc>
                <a:spcPct val="100000"/>
              </a:lnSpc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algn="ctr"/>
            <a:r>
              <a:rPr lang="en-US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377426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EF10677-03DE-4399-B11F-4EEBFD00C6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705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EF10677-03DE-4399-B11F-4EEBFD00C6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5">
            <a:extLst>
              <a:ext uri="{FF2B5EF4-FFF2-40B4-BE49-F238E27FC236}">
                <a16:creationId xmlns:a16="http://schemas.microsoft.com/office/drawing/2014/main" id="{EB06E805-0674-4DC7-AF62-059B35A2DC1D}"/>
              </a:ext>
            </a:extLst>
          </p:cNvPr>
          <p:cNvSpPr/>
          <p:nvPr userDrawn="1"/>
        </p:nvSpPr>
        <p:spPr>
          <a:xfrm>
            <a:off x="706056" y="-695325"/>
            <a:ext cx="3770694" cy="525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Team presenta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A1F5269D-9D59-444B-994C-C43854AEB52C}"/>
              </a:ext>
            </a:extLst>
          </p:cNvPr>
          <p:cNvSpPr/>
          <p:nvPr userDrawn="1"/>
        </p:nvSpPr>
        <p:spPr>
          <a:xfrm>
            <a:off x="0" y="1569721"/>
            <a:ext cx="6096000" cy="5288279"/>
          </a:xfrm>
          <a:prstGeom prst="rect">
            <a:avLst/>
          </a:prstGeom>
          <a:solidFill>
            <a:srgbClr val="DFF1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144000" rIns="216000" bIns="144000" rtlCol="0" anchor="t"/>
          <a:lstStyle/>
          <a:p>
            <a:pPr algn="l" rtl="0">
              <a:lnSpc>
                <a:spcPct val="12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ED1E11E-79E0-4E59-96CD-67F309107A44}"/>
              </a:ext>
            </a:extLst>
          </p:cNvPr>
          <p:cNvSpPr/>
          <p:nvPr userDrawn="1"/>
        </p:nvSpPr>
        <p:spPr>
          <a:xfrm>
            <a:off x="6096000" y="1569721"/>
            <a:ext cx="6096000" cy="5288279"/>
          </a:xfrm>
          <a:prstGeom prst="rect">
            <a:avLst/>
          </a:prstGeom>
          <a:solidFill>
            <a:srgbClr val="C0E4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144000" rIns="216000" bIns="144000" rtlCol="0" anchor="t"/>
          <a:lstStyle/>
          <a:p>
            <a:pPr algn="l" rtl="0">
              <a:lnSpc>
                <a:spcPct val="12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88D69A0-B033-40C4-9014-38DA954C6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085846"/>
            <a:ext cx="11376024" cy="42291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BB9B651-00D9-4C74-95D7-EC67DE72E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hapter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E74A6AB-DC23-470E-8DAF-B814D76E1A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771527"/>
            <a:ext cx="11376022" cy="288000"/>
          </a:xfrm>
        </p:spPr>
        <p:txBody>
          <a:bodyPr/>
          <a:lstStyle>
            <a:lvl1pPr marL="0" indent="0" rtl="0">
              <a:lnSpc>
                <a:spcPct val="100000"/>
              </a:lnSpc>
              <a:buNone/>
              <a:defRPr sz="1600"/>
            </a:lvl1pPr>
            <a:lvl2pPr marL="92075" indent="0">
              <a:buNone/>
              <a:defRPr/>
            </a:lvl2pPr>
          </a:lstStyle>
          <a:p>
            <a:pPr lvl="0"/>
            <a:r>
              <a:rPr lang="en-US" err="1"/>
              <a:t>Subheadline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624EEE1-5367-40CE-8133-CD209723CA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49779" y="1569722"/>
            <a:ext cx="4046221" cy="5288278"/>
          </a:xfrm>
          <a:solidFill>
            <a:srgbClr val="DFF1F7"/>
          </a:solidFill>
        </p:spPr>
        <p:txBody>
          <a:bodyPr lIns="252000" tIns="180000" rIns="216000" bIns="108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A6819CE5-3A0D-41BA-9975-22F00812ED4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45778" y="1569722"/>
            <a:ext cx="4046222" cy="5288278"/>
          </a:xfrm>
          <a:solidFill>
            <a:srgbClr val="C0E4EF"/>
          </a:solidFill>
        </p:spPr>
        <p:txBody>
          <a:bodyPr lIns="252000" tIns="180000" rIns="216000" bIns="108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C718957-5F41-46E3-B144-0A8DC86560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569721"/>
            <a:ext cx="2049779" cy="2644138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B9CFA943-4C5E-4D3F-B9FA-507A6C0842B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1569721"/>
            <a:ext cx="2049779" cy="2644138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07E87087-DF22-401C-A7D9-CA1D4A8BCAD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175" y="4518026"/>
            <a:ext cx="1665603" cy="1035050"/>
          </a:xfrm>
        </p:spPr>
        <p:txBody>
          <a:bodyPr/>
          <a:lstStyle>
            <a:lvl1pPr marL="0" indent="0" rtl="0">
              <a:buNone/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Mastertextformat bearbeiten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BD884B24-A1D4-4246-A642-41BE6B497D8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99200" y="4518026"/>
            <a:ext cx="1846577" cy="1035050"/>
          </a:xfrm>
        </p:spPr>
        <p:txBody>
          <a:bodyPr/>
          <a:lstStyle>
            <a:lvl1pPr marL="0" indent="0" rtl="0">
              <a:buNone/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Mastertextformat bearbeiten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089B22-0C9E-4F23-9307-A75D682DE02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8626" y="95400"/>
            <a:ext cx="216000" cy="216000"/>
          </a:xfrm>
          <a:noFill/>
        </p:spPr>
        <p:txBody>
          <a:bodyPr vert="horz" lIns="0" tIns="0" rIns="0" bIns="0" rtlCol="0" anchor="ctr"/>
          <a:lstStyle>
            <a:lvl1pPr marL="0" indent="0" algn="l" rtl="0">
              <a:lnSpc>
                <a:spcPct val="100000"/>
              </a:lnSpc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algn="ctr"/>
            <a:r>
              <a:rPr lang="en-US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880401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13FF4DB-9881-4A86-AACB-083D03CA95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5923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13FF4DB-9881-4A86-AACB-083D03CA95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60B63904-2DAA-4AB5-953A-E5F561CFF50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741361"/>
            <a:ext cx="12192000" cy="4087814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E186545-3571-4985-9206-7FA2EA53084C}"/>
              </a:ext>
            </a:extLst>
          </p:cNvPr>
          <p:cNvSpPr/>
          <p:nvPr userDrawn="1"/>
        </p:nvSpPr>
        <p:spPr>
          <a:xfrm>
            <a:off x="0" y="0"/>
            <a:ext cx="12192000" cy="74136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8913F9C-4FFB-4DC9-BB1B-575A9FC4C8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5130483"/>
            <a:ext cx="11376024" cy="531177"/>
          </a:xfrm>
        </p:spPr>
        <p:txBody>
          <a:bodyPr vert="horz" anchor="t"/>
          <a:lstStyle>
            <a:lvl1pPr algn="l" rtl="0">
              <a:defRPr sz="3600"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63A6C9A-072B-49D0-9CAA-7971B9E481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87" y="5661660"/>
            <a:ext cx="11376025" cy="504190"/>
          </a:xfrm>
        </p:spPr>
        <p:txBody>
          <a:bodyPr/>
          <a:lstStyle>
            <a:lvl1pPr marL="0" indent="0" algn="l" rtl="0">
              <a:lnSpc>
                <a:spcPct val="100000"/>
              </a:lnSpc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Master-Untertitelformat bearbeiten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E2AD5A8E-D28A-4C30-A037-18615D8DE038}"/>
              </a:ext>
            </a:extLst>
          </p:cNvPr>
          <p:cNvGrpSpPr/>
          <p:nvPr userDrawn="1"/>
        </p:nvGrpSpPr>
        <p:grpSpPr>
          <a:xfrm>
            <a:off x="8197848" y="0"/>
            <a:ext cx="3994153" cy="742949"/>
            <a:chOff x="8197848" y="0"/>
            <a:chExt cx="3994153" cy="742949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71842E9A-55C5-4F38-A7A7-E9D6141BE9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336043" y="0"/>
              <a:ext cx="1855958" cy="742949"/>
            </a:xfrm>
            <a:prstGeom prst="rect">
              <a:avLst/>
            </a:prstGeom>
          </p:spPr>
        </p:pic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E5ED3794-D266-4923-BFAC-C30C5714C7EC}"/>
                </a:ext>
              </a:extLst>
            </p:cNvPr>
            <p:cNvSpPr/>
            <p:nvPr/>
          </p:nvSpPr>
          <p:spPr>
            <a:xfrm>
              <a:off x="8867076" y="43331"/>
              <a:ext cx="755690" cy="631880"/>
            </a:xfrm>
            <a:custGeom>
              <a:avLst/>
              <a:gdLst>
                <a:gd name="connsiteX0" fmla="*/ 444408 w 755690"/>
                <a:gd name="connsiteY0" fmla="*/ 631879 h 631880"/>
                <a:gd name="connsiteX1" fmla="*/ 397057 w 755690"/>
                <a:gd name="connsiteY1" fmla="*/ 587886 h 631880"/>
                <a:gd name="connsiteX2" fmla="*/ 653310 w 755690"/>
                <a:gd name="connsiteY2" fmla="*/ 312052 h 631880"/>
                <a:gd name="connsiteX3" fmla="*/ 642336 w 755690"/>
                <a:gd name="connsiteY3" fmla="*/ 102919 h 631880"/>
                <a:gd name="connsiteX4" fmla="*/ 638523 w 755690"/>
                <a:gd name="connsiteY4" fmla="*/ 99602 h 631880"/>
                <a:gd name="connsiteX5" fmla="*/ 433318 w 755690"/>
                <a:gd name="connsiteY5" fmla="*/ 113768 h 631880"/>
                <a:gd name="connsiteX6" fmla="*/ 432587 w 755690"/>
                <a:gd name="connsiteY6" fmla="*/ 114560 h 631880"/>
                <a:gd name="connsiteX7" fmla="*/ 378037 w 755690"/>
                <a:gd name="connsiteY7" fmla="*/ 171104 h 631880"/>
                <a:gd name="connsiteX8" fmla="*/ 322648 w 755690"/>
                <a:gd name="connsiteY8" fmla="*/ 113752 h 631880"/>
                <a:gd name="connsiteX9" fmla="*/ 113502 w 755690"/>
                <a:gd name="connsiteY9" fmla="*/ 103050 h 631880"/>
                <a:gd name="connsiteX10" fmla="*/ 64991 w 755690"/>
                <a:gd name="connsiteY10" fmla="*/ 202794 h 631880"/>
                <a:gd name="connsiteX11" fmla="*/ 102562 w 755690"/>
                <a:gd name="connsiteY11" fmla="*/ 311928 h 631880"/>
                <a:gd name="connsiteX12" fmla="*/ 281322 w 755690"/>
                <a:gd name="connsiteY12" fmla="*/ 500476 h 631880"/>
                <a:gd name="connsiteX13" fmla="*/ 234398 w 755690"/>
                <a:gd name="connsiteY13" fmla="*/ 544952 h 631880"/>
                <a:gd name="connsiteX14" fmla="*/ 54822 w 755690"/>
                <a:gd name="connsiteY14" fmla="*/ 355517 h 631880"/>
                <a:gd name="connsiteX15" fmla="*/ 70182 w 755690"/>
                <a:gd name="connsiteY15" fmla="*/ 55068 h 631880"/>
                <a:gd name="connsiteX16" fmla="*/ 75862 w 755690"/>
                <a:gd name="connsiteY16" fmla="*/ 50120 h 631880"/>
                <a:gd name="connsiteX17" fmla="*/ 370293 w 755690"/>
                <a:gd name="connsiteY17" fmla="*/ 70024 h 631880"/>
                <a:gd name="connsiteX18" fmla="*/ 378037 w 755690"/>
                <a:gd name="connsiteY18" fmla="*/ 78032 h 631880"/>
                <a:gd name="connsiteX19" fmla="*/ 385734 w 755690"/>
                <a:gd name="connsiteY19" fmla="*/ 70039 h 631880"/>
                <a:gd name="connsiteX20" fmla="*/ 686228 w 755690"/>
                <a:gd name="connsiteY20" fmla="*/ 56053 h 631880"/>
                <a:gd name="connsiteX21" fmla="*/ 701147 w 755690"/>
                <a:gd name="connsiteY21" fmla="*/ 355517 h 631880"/>
                <a:gd name="connsiteX22" fmla="*/ 700836 w 755690"/>
                <a:gd name="connsiteY22" fmla="*/ 355857 h 63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55690" h="631880">
                  <a:moveTo>
                    <a:pt x="444408" y="631879"/>
                  </a:moveTo>
                  <a:lnTo>
                    <a:pt x="397057" y="587886"/>
                  </a:lnTo>
                  <a:lnTo>
                    <a:pt x="653310" y="312052"/>
                  </a:lnTo>
                  <a:cubicBezTo>
                    <a:pt x="708031" y="251271"/>
                    <a:pt x="703117" y="157639"/>
                    <a:pt x="642336" y="102919"/>
                  </a:cubicBezTo>
                  <a:cubicBezTo>
                    <a:pt x="641084" y="101792"/>
                    <a:pt x="639812" y="100686"/>
                    <a:pt x="638523" y="99602"/>
                  </a:cubicBezTo>
                  <a:cubicBezTo>
                    <a:pt x="577578" y="47957"/>
                    <a:pt x="486590" y="54238"/>
                    <a:pt x="433318" y="113768"/>
                  </a:cubicBezTo>
                  <a:lnTo>
                    <a:pt x="432587" y="114560"/>
                  </a:lnTo>
                  <a:lnTo>
                    <a:pt x="378037" y="171104"/>
                  </a:lnTo>
                  <a:lnTo>
                    <a:pt x="322648" y="113752"/>
                  </a:lnTo>
                  <a:cubicBezTo>
                    <a:pt x="267848" y="53043"/>
                    <a:pt x="174211" y="48251"/>
                    <a:pt x="113502" y="103050"/>
                  </a:cubicBezTo>
                  <a:cubicBezTo>
                    <a:pt x="85019" y="128759"/>
                    <a:pt x="67629" y="164518"/>
                    <a:pt x="64991" y="202794"/>
                  </a:cubicBezTo>
                  <a:cubicBezTo>
                    <a:pt x="62089" y="242776"/>
                    <a:pt x="75663" y="282204"/>
                    <a:pt x="102562" y="311928"/>
                  </a:cubicBezTo>
                  <a:lnTo>
                    <a:pt x="281322" y="500476"/>
                  </a:lnTo>
                  <a:lnTo>
                    <a:pt x="234398" y="544952"/>
                  </a:lnTo>
                  <a:lnTo>
                    <a:pt x="54822" y="355517"/>
                  </a:lnTo>
                  <a:cubicBezTo>
                    <a:pt x="-23904" y="268310"/>
                    <a:pt x="-17028" y="133793"/>
                    <a:pt x="70182" y="55068"/>
                  </a:cubicBezTo>
                  <a:cubicBezTo>
                    <a:pt x="72046" y="53385"/>
                    <a:pt x="73939" y="51735"/>
                    <a:pt x="75862" y="50120"/>
                  </a:cubicBezTo>
                  <a:cubicBezTo>
                    <a:pt x="163298" y="-23783"/>
                    <a:pt x="293600" y="-14974"/>
                    <a:pt x="370293" y="70024"/>
                  </a:cubicBezTo>
                  <a:lnTo>
                    <a:pt x="378037" y="78032"/>
                  </a:lnTo>
                  <a:lnTo>
                    <a:pt x="385734" y="70039"/>
                  </a:lnTo>
                  <a:cubicBezTo>
                    <a:pt x="464851" y="-16802"/>
                    <a:pt x="599386" y="-23064"/>
                    <a:pt x="686228" y="56053"/>
                  </a:cubicBezTo>
                  <a:cubicBezTo>
                    <a:pt x="772670" y="134805"/>
                    <a:pt x="779331" y="268563"/>
                    <a:pt x="701147" y="355517"/>
                  </a:cubicBezTo>
                  <a:lnTo>
                    <a:pt x="700836" y="355857"/>
                  </a:lnTo>
                  <a:close/>
                </a:path>
              </a:pathLst>
            </a:custGeom>
            <a:solidFill>
              <a:schemeClr val="accent3"/>
            </a:solidFill>
            <a:ln w="264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21D747B1-17F8-4C4F-BFF7-4C9A63C4C053}"/>
                </a:ext>
              </a:extLst>
            </p:cNvPr>
            <p:cNvSpPr/>
            <p:nvPr/>
          </p:nvSpPr>
          <p:spPr>
            <a:xfrm>
              <a:off x="9692930" y="43329"/>
              <a:ext cx="601387" cy="632252"/>
            </a:xfrm>
            <a:custGeom>
              <a:avLst/>
              <a:gdLst>
                <a:gd name="connsiteX0" fmla="*/ 32383 w 601387"/>
                <a:gd name="connsiteY0" fmla="*/ 67228 h 632252"/>
                <a:gd name="connsiteX1" fmla="*/ 65354 w 601387"/>
                <a:gd name="connsiteY1" fmla="*/ 99611 h 632252"/>
                <a:gd name="connsiteX2" fmla="*/ 65354 w 601387"/>
                <a:gd name="connsiteY2" fmla="*/ 405626 h 632252"/>
                <a:gd name="connsiteX3" fmla="*/ 72864 w 601387"/>
                <a:gd name="connsiteY3" fmla="*/ 500841 h 632252"/>
                <a:gd name="connsiteX4" fmla="*/ 6754 w 601387"/>
                <a:gd name="connsiteY4" fmla="*/ 500968 h 632252"/>
                <a:gd name="connsiteX5" fmla="*/ 0 w 601387"/>
                <a:gd name="connsiteY5" fmla="*/ 405626 h 632252"/>
                <a:gd name="connsiteX6" fmla="*/ 0 w 601387"/>
                <a:gd name="connsiteY6" fmla="*/ 99611 h 632252"/>
                <a:gd name="connsiteX7" fmla="*/ 32383 w 601387"/>
                <a:gd name="connsiteY7" fmla="*/ 67228 h 632252"/>
                <a:gd name="connsiteX8" fmla="*/ 155336 w 601387"/>
                <a:gd name="connsiteY8" fmla="*/ 26134 h 632252"/>
                <a:gd name="connsiteX9" fmla="*/ 155347 w 601387"/>
                <a:gd name="connsiteY9" fmla="*/ 26134 h 632252"/>
                <a:gd name="connsiteX10" fmla="*/ 188073 w 601387"/>
                <a:gd name="connsiteY10" fmla="*/ 58844 h 632252"/>
                <a:gd name="connsiteX11" fmla="*/ 188073 w 601387"/>
                <a:gd name="connsiteY11" fmla="*/ 58858 h 632252"/>
                <a:gd name="connsiteX12" fmla="*/ 188073 w 601387"/>
                <a:gd name="connsiteY12" fmla="*/ 336445 h 632252"/>
                <a:gd name="connsiteX13" fmla="*/ 122623 w 601387"/>
                <a:gd name="connsiteY13" fmla="*/ 336445 h 632252"/>
                <a:gd name="connsiteX14" fmla="*/ 122623 w 601387"/>
                <a:gd name="connsiteY14" fmla="*/ 58858 h 632252"/>
                <a:gd name="connsiteX15" fmla="*/ 155336 w 601387"/>
                <a:gd name="connsiteY15" fmla="*/ 26134 h 632252"/>
                <a:gd name="connsiteX16" fmla="*/ 400975 w 601387"/>
                <a:gd name="connsiteY16" fmla="*/ 25842 h 632252"/>
                <a:gd name="connsiteX17" fmla="*/ 433986 w 601387"/>
                <a:gd name="connsiteY17" fmla="*/ 58265 h 632252"/>
                <a:gd name="connsiteX18" fmla="*/ 433986 w 601387"/>
                <a:gd name="connsiteY18" fmla="*/ 58852 h 632252"/>
                <a:gd name="connsiteX19" fmla="*/ 434049 w 601387"/>
                <a:gd name="connsiteY19" fmla="*/ 415881 h 632252"/>
                <a:gd name="connsiteX20" fmla="*/ 559488 w 601387"/>
                <a:gd name="connsiteY20" fmla="*/ 407225 h 632252"/>
                <a:gd name="connsiteX21" fmla="*/ 600082 w 601387"/>
                <a:gd name="connsiteY21" fmla="*/ 453502 h 632252"/>
                <a:gd name="connsiteX22" fmla="*/ 578359 w 601387"/>
                <a:gd name="connsiteY22" fmla="*/ 514025 h 632252"/>
                <a:gd name="connsiteX23" fmla="*/ 492306 w 601387"/>
                <a:gd name="connsiteY23" fmla="*/ 583757 h 632252"/>
                <a:gd name="connsiteX24" fmla="*/ 368270 w 601387"/>
                <a:gd name="connsiteY24" fmla="*/ 631937 h 632252"/>
                <a:gd name="connsiteX25" fmla="*/ 203607 w 601387"/>
                <a:gd name="connsiteY25" fmla="*/ 632252 h 632252"/>
                <a:gd name="connsiteX26" fmla="*/ 203607 w 601387"/>
                <a:gd name="connsiteY26" fmla="*/ 566800 h 632252"/>
                <a:gd name="connsiteX27" fmla="*/ 368206 w 601387"/>
                <a:gd name="connsiteY27" fmla="*/ 566800 h 632252"/>
                <a:gd name="connsiteX28" fmla="*/ 450325 w 601387"/>
                <a:gd name="connsiteY28" fmla="*/ 534958 h 632252"/>
                <a:gd name="connsiteX29" fmla="*/ 450325 w 601387"/>
                <a:gd name="connsiteY29" fmla="*/ 534961 h 632252"/>
                <a:gd name="connsiteX30" fmla="*/ 539684 w 601387"/>
                <a:gd name="connsiteY30" fmla="*/ 463011 h 632252"/>
                <a:gd name="connsiteX31" fmla="*/ 464351 w 601387"/>
                <a:gd name="connsiteY31" fmla="*/ 468976 h 632252"/>
                <a:gd name="connsiteX32" fmla="*/ 426210 w 601387"/>
                <a:gd name="connsiteY32" fmla="*/ 489674 h 632252"/>
                <a:gd name="connsiteX33" fmla="*/ 368663 w 601387"/>
                <a:gd name="connsiteY33" fmla="*/ 489392 h 632252"/>
                <a:gd name="connsiteX34" fmla="*/ 368552 w 601387"/>
                <a:gd name="connsiteY34" fmla="*/ 58852 h 632252"/>
                <a:gd name="connsiteX35" fmla="*/ 400975 w 601387"/>
                <a:gd name="connsiteY35" fmla="*/ 25842 h 632252"/>
                <a:gd name="connsiteX36" fmla="*/ 278349 w 601387"/>
                <a:gd name="connsiteY36" fmla="*/ 0 h 632252"/>
                <a:gd name="connsiteX37" fmla="*/ 280522 w 601387"/>
                <a:gd name="connsiteY37" fmla="*/ 73 h 632252"/>
                <a:gd name="connsiteX38" fmla="*/ 311059 w 601387"/>
                <a:gd name="connsiteY38" fmla="*/ 33953 h 632252"/>
                <a:gd name="connsiteX39" fmla="*/ 311059 w 601387"/>
                <a:gd name="connsiteY39" fmla="*/ 336442 h 632252"/>
                <a:gd name="connsiteX40" fmla="*/ 245625 w 601387"/>
                <a:gd name="connsiteY40" fmla="*/ 336442 h 632252"/>
                <a:gd name="connsiteX41" fmla="*/ 245625 w 601387"/>
                <a:gd name="connsiteY41" fmla="*/ 32719 h 632252"/>
                <a:gd name="connsiteX42" fmla="*/ 278349 w 601387"/>
                <a:gd name="connsiteY42" fmla="*/ 0 h 632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01387" h="632252">
                  <a:moveTo>
                    <a:pt x="32383" y="67228"/>
                  </a:moveTo>
                  <a:cubicBezTo>
                    <a:pt x="50431" y="67066"/>
                    <a:pt x="65193" y="81564"/>
                    <a:pt x="65354" y="99611"/>
                  </a:cubicBezTo>
                  <a:lnTo>
                    <a:pt x="65354" y="405626"/>
                  </a:lnTo>
                  <a:cubicBezTo>
                    <a:pt x="65381" y="437512"/>
                    <a:pt x="67889" y="469346"/>
                    <a:pt x="72864" y="500841"/>
                  </a:cubicBezTo>
                  <a:lnTo>
                    <a:pt x="6754" y="500968"/>
                  </a:lnTo>
                  <a:cubicBezTo>
                    <a:pt x="2268" y="469385"/>
                    <a:pt x="11" y="437525"/>
                    <a:pt x="0" y="405626"/>
                  </a:cubicBezTo>
                  <a:lnTo>
                    <a:pt x="0" y="99611"/>
                  </a:lnTo>
                  <a:cubicBezTo>
                    <a:pt x="161" y="81793"/>
                    <a:pt x="14565" y="67388"/>
                    <a:pt x="32383" y="67228"/>
                  </a:cubicBezTo>
                  <a:close/>
                  <a:moveTo>
                    <a:pt x="155336" y="26134"/>
                  </a:moveTo>
                  <a:cubicBezTo>
                    <a:pt x="155339" y="26134"/>
                    <a:pt x="155344" y="26134"/>
                    <a:pt x="155347" y="26134"/>
                  </a:cubicBezTo>
                  <a:cubicBezTo>
                    <a:pt x="173415" y="26130"/>
                    <a:pt x="188067" y="40775"/>
                    <a:pt x="188073" y="58844"/>
                  </a:cubicBezTo>
                  <a:cubicBezTo>
                    <a:pt x="188073" y="58849"/>
                    <a:pt x="188073" y="58853"/>
                    <a:pt x="188073" y="58858"/>
                  </a:cubicBezTo>
                  <a:lnTo>
                    <a:pt x="188073" y="336445"/>
                  </a:lnTo>
                  <a:lnTo>
                    <a:pt x="122623" y="336445"/>
                  </a:lnTo>
                  <a:lnTo>
                    <a:pt x="122623" y="58858"/>
                  </a:lnTo>
                  <a:cubicBezTo>
                    <a:pt x="122620" y="40788"/>
                    <a:pt x="137267" y="26137"/>
                    <a:pt x="155336" y="26134"/>
                  </a:cubicBezTo>
                  <a:close/>
                  <a:moveTo>
                    <a:pt x="400975" y="25842"/>
                  </a:moveTo>
                  <a:cubicBezTo>
                    <a:pt x="419044" y="25679"/>
                    <a:pt x="433825" y="40196"/>
                    <a:pt x="433986" y="58265"/>
                  </a:cubicBezTo>
                  <a:cubicBezTo>
                    <a:pt x="433989" y="58460"/>
                    <a:pt x="433989" y="58656"/>
                    <a:pt x="433986" y="58852"/>
                  </a:cubicBezTo>
                  <a:lnTo>
                    <a:pt x="434049" y="415881"/>
                  </a:lnTo>
                  <a:cubicBezTo>
                    <a:pt x="472708" y="395217"/>
                    <a:pt x="518357" y="392067"/>
                    <a:pt x="559488" y="407225"/>
                  </a:cubicBezTo>
                  <a:cubicBezTo>
                    <a:pt x="580115" y="414587"/>
                    <a:pt x="595472" y="432091"/>
                    <a:pt x="600082" y="453502"/>
                  </a:cubicBezTo>
                  <a:cubicBezTo>
                    <a:pt x="604825" y="476158"/>
                    <a:pt x="596428" y="499557"/>
                    <a:pt x="578359" y="514025"/>
                  </a:cubicBezTo>
                  <a:lnTo>
                    <a:pt x="492306" y="583757"/>
                  </a:lnTo>
                  <a:cubicBezTo>
                    <a:pt x="458453" y="614780"/>
                    <a:pt x="414190" y="631974"/>
                    <a:pt x="368270" y="631937"/>
                  </a:cubicBezTo>
                  <a:lnTo>
                    <a:pt x="203607" y="632252"/>
                  </a:lnTo>
                  <a:lnTo>
                    <a:pt x="203607" y="566800"/>
                  </a:lnTo>
                  <a:lnTo>
                    <a:pt x="368206" y="566800"/>
                  </a:lnTo>
                  <a:cubicBezTo>
                    <a:pt x="398580" y="566734"/>
                    <a:pt x="427847" y="555388"/>
                    <a:pt x="450325" y="534958"/>
                  </a:cubicBezTo>
                  <a:lnTo>
                    <a:pt x="450325" y="534961"/>
                  </a:lnTo>
                  <a:lnTo>
                    <a:pt x="539684" y="463011"/>
                  </a:lnTo>
                  <a:cubicBezTo>
                    <a:pt x="514681" y="455781"/>
                    <a:pt x="487904" y="457901"/>
                    <a:pt x="464351" y="468976"/>
                  </a:cubicBezTo>
                  <a:lnTo>
                    <a:pt x="426210" y="489674"/>
                  </a:lnTo>
                  <a:lnTo>
                    <a:pt x="368663" y="489392"/>
                  </a:lnTo>
                  <a:lnTo>
                    <a:pt x="368552" y="58852"/>
                  </a:lnTo>
                  <a:cubicBezTo>
                    <a:pt x="368391" y="40783"/>
                    <a:pt x="382906" y="26004"/>
                    <a:pt x="400975" y="25842"/>
                  </a:cubicBezTo>
                  <a:close/>
                  <a:moveTo>
                    <a:pt x="278349" y="0"/>
                  </a:moveTo>
                  <a:cubicBezTo>
                    <a:pt x="279072" y="0"/>
                    <a:pt x="279798" y="24"/>
                    <a:pt x="280522" y="73"/>
                  </a:cubicBezTo>
                  <a:cubicBezTo>
                    <a:pt x="297988" y="1652"/>
                    <a:pt x="311296" y="16415"/>
                    <a:pt x="311059" y="33953"/>
                  </a:cubicBezTo>
                  <a:lnTo>
                    <a:pt x="311059" y="336442"/>
                  </a:lnTo>
                  <a:lnTo>
                    <a:pt x="245625" y="336442"/>
                  </a:lnTo>
                  <a:lnTo>
                    <a:pt x="245625" y="32719"/>
                  </a:lnTo>
                  <a:cubicBezTo>
                    <a:pt x="245625" y="14648"/>
                    <a:pt x="260277" y="0"/>
                    <a:pt x="278349" y="0"/>
                  </a:cubicBezTo>
                  <a:close/>
                </a:path>
              </a:pathLst>
            </a:custGeom>
            <a:solidFill>
              <a:schemeClr val="accent4"/>
            </a:solidFill>
            <a:ln w="264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7D711CC3-C1AB-41B4-B10F-283078B80E5C}"/>
                </a:ext>
              </a:extLst>
            </p:cNvPr>
            <p:cNvSpPr/>
            <p:nvPr/>
          </p:nvSpPr>
          <p:spPr>
            <a:xfrm>
              <a:off x="8197848" y="43270"/>
              <a:ext cx="657418" cy="632314"/>
            </a:xfrm>
            <a:custGeom>
              <a:avLst/>
              <a:gdLst>
                <a:gd name="connsiteX0" fmla="*/ 653235 w 657418"/>
                <a:gd name="connsiteY0" fmla="*/ 382453 h 632314"/>
                <a:gd name="connsiteX1" fmla="*/ 652427 w 657418"/>
                <a:gd name="connsiteY1" fmla="*/ 380773 h 632314"/>
                <a:gd name="connsiteX2" fmla="*/ 583661 w 657418"/>
                <a:gd name="connsiteY2" fmla="*/ 272575 h 632314"/>
                <a:gd name="connsiteX3" fmla="*/ 581736 w 657418"/>
                <a:gd name="connsiteY3" fmla="*/ 232144 h 632314"/>
                <a:gd name="connsiteX4" fmla="*/ 499649 w 657418"/>
                <a:gd name="connsiteY4" fmla="*/ 77251 h 632314"/>
                <a:gd name="connsiteX5" fmla="*/ 295841 w 657418"/>
                <a:gd name="connsiteY5" fmla="*/ 62 h 632314"/>
                <a:gd name="connsiteX6" fmla="*/ 295731 w 657418"/>
                <a:gd name="connsiteY6" fmla="*/ 62 h 632314"/>
                <a:gd name="connsiteX7" fmla="*/ -3 w 657418"/>
                <a:gd name="connsiteY7" fmla="*/ 295795 h 632314"/>
                <a:gd name="connsiteX8" fmla="*/ -3 w 657418"/>
                <a:gd name="connsiteY8" fmla="*/ 295811 h 632314"/>
                <a:gd name="connsiteX9" fmla="*/ -3 w 657418"/>
                <a:gd name="connsiteY9" fmla="*/ 302042 h 632314"/>
                <a:gd name="connsiteX10" fmla="*/ 93898 w 657418"/>
                <a:gd name="connsiteY10" fmla="*/ 502510 h 632314"/>
                <a:gd name="connsiteX11" fmla="*/ 140761 w 657418"/>
                <a:gd name="connsiteY11" fmla="*/ 541570 h 632314"/>
                <a:gd name="connsiteX12" fmla="*/ 151967 w 657418"/>
                <a:gd name="connsiteY12" fmla="*/ 576123 h 632314"/>
                <a:gd name="connsiteX13" fmla="*/ 137682 w 657418"/>
                <a:gd name="connsiteY13" fmla="*/ 632312 h 632314"/>
                <a:gd name="connsiteX14" fmla="*/ 205183 w 657418"/>
                <a:gd name="connsiteY14" fmla="*/ 632312 h 632314"/>
                <a:gd name="connsiteX15" fmla="*/ 215339 w 657418"/>
                <a:gd name="connsiteY15" fmla="*/ 592040 h 632314"/>
                <a:gd name="connsiteX16" fmla="*/ 182956 w 657418"/>
                <a:gd name="connsiteY16" fmla="*/ 491924 h 632314"/>
                <a:gd name="connsiteX17" fmla="*/ 136077 w 657418"/>
                <a:gd name="connsiteY17" fmla="*/ 452863 h 632314"/>
                <a:gd name="connsiteX18" fmla="*/ 65431 w 657418"/>
                <a:gd name="connsiteY18" fmla="*/ 302042 h 632314"/>
                <a:gd name="connsiteX19" fmla="*/ 65431 w 657418"/>
                <a:gd name="connsiteY19" fmla="*/ 296703 h 632314"/>
                <a:gd name="connsiteX20" fmla="*/ 293734 w 657418"/>
                <a:gd name="connsiteY20" fmla="*/ 65573 h 632314"/>
                <a:gd name="connsiteX21" fmla="*/ 295746 w 657418"/>
                <a:gd name="connsiteY21" fmla="*/ 65570 h 632314"/>
                <a:gd name="connsiteX22" fmla="*/ 295841 w 657418"/>
                <a:gd name="connsiteY22" fmla="*/ 65570 h 632314"/>
                <a:gd name="connsiteX23" fmla="*/ 516736 w 657418"/>
                <a:gd name="connsiteY23" fmla="*/ 239373 h 632314"/>
                <a:gd name="connsiteX24" fmla="*/ 518088 w 657418"/>
                <a:gd name="connsiteY24" fmla="*/ 280206 h 632314"/>
                <a:gd name="connsiteX25" fmla="*/ 517639 w 657418"/>
                <a:gd name="connsiteY25" fmla="*/ 290387 h 632314"/>
                <a:gd name="connsiteX26" fmla="*/ 579067 w 657418"/>
                <a:gd name="connsiteY26" fmla="*/ 387029 h 632314"/>
                <a:gd name="connsiteX27" fmla="*/ 523699 w 657418"/>
                <a:gd name="connsiteY27" fmla="*/ 402541 h 632314"/>
                <a:gd name="connsiteX28" fmla="*/ 523762 w 657418"/>
                <a:gd name="connsiteY28" fmla="*/ 543136 h 632314"/>
                <a:gd name="connsiteX29" fmla="*/ 500058 w 657418"/>
                <a:gd name="connsiteY29" fmla="*/ 566855 h 632314"/>
                <a:gd name="connsiteX30" fmla="*/ 433682 w 657418"/>
                <a:gd name="connsiteY30" fmla="*/ 566855 h 632314"/>
                <a:gd name="connsiteX31" fmla="*/ 417330 w 657418"/>
                <a:gd name="connsiteY31" fmla="*/ 632305 h 632314"/>
                <a:gd name="connsiteX32" fmla="*/ 500845 w 657418"/>
                <a:gd name="connsiteY32" fmla="*/ 632305 h 632314"/>
                <a:gd name="connsiteX33" fmla="*/ 589164 w 657418"/>
                <a:gd name="connsiteY33" fmla="*/ 544018 h 632314"/>
                <a:gd name="connsiteX34" fmla="*/ 589164 w 657418"/>
                <a:gd name="connsiteY34" fmla="*/ 543954 h 632314"/>
                <a:gd name="connsiteX35" fmla="*/ 589135 w 657418"/>
                <a:gd name="connsiteY35" fmla="*/ 451538 h 632314"/>
                <a:gd name="connsiteX36" fmla="*/ 626999 w 657418"/>
                <a:gd name="connsiteY36" fmla="*/ 440936 h 632314"/>
                <a:gd name="connsiteX37" fmla="*/ 627572 w 657418"/>
                <a:gd name="connsiteY37" fmla="*/ 440765 h 632314"/>
                <a:gd name="connsiteX38" fmla="*/ 655638 w 657418"/>
                <a:gd name="connsiteY38" fmla="*/ 388626 h 632314"/>
                <a:gd name="connsiteX39" fmla="*/ 653235 w 657418"/>
                <a:gd name="connsiteY39" fmla="*/ 382447 h 632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57418" h="632314">
                  <a:moveTo>
                    <a:pt x="653235" y="382453"/>
                  </a:moveTo>
                  <a:lnTo>
                    <a:pt x="652427" y="380773"/>
                  </a:lnTo>
                  <a:lnTo>
                    <a:pt x="583661" y="272575"/>
                  </a:lnTo>
                  <a:cubicBezTo>
                    <a:pt x="583796" y="259071"/>
                    <a:pt x="583154" y="245573"/>
                    <a:pt x="581736" y="232144"/>
                  </a:cubicBezTo>
                  <a:cubicBezTo>
                    <a:pt x="573366" y="172490"/>
                    <a:pt x="544313" y="117670"/>
                    <a:pt x="499649" y="77251"/>
                  </a:cubicBezTo>
                  <a:cubicBezTo>
                    <a:pt x="444241" y="26148"/>
                    <a:pt x="371201" y="-1515"/>
                    <a:pt x="295841" y="62"/>
                  </a:cubicBezTo>
                  <a:lnTo>
                    <a:pt x="295731" y="62"/>
                  </a:lnTo>
                  <a:cubicBezTo>
                    <a:pt x="132402" y="62"/>
                    <a:pt x="-3" y="132466"/>
                    <a:pt x="-3" y="295795"/>
                  </a:cubicBezTo>
                  <a:cubicBezTo>
                    <a:pt x="-3" y="295800"/>
                    <a:pt x="-3" y="295806"/>
                    <a:pt x="-3" y="295811"/>
                  </a:cubicBezTo>
                  <a:lnTo>
                    <a:pt x="-3" y="302042"/>
                  </a:lnTo>
                  <a:cubicBezTo>
                    <a:pt x="-105" y="379511"/>
                    <a:pt x="34316" y="452998"/>
                    <a:pt x="93898" y="502510"/>
                  </a:cubicBezTo>
                  <a:lnTo>
                    <a:pt x="140761" y="541570"/>
                  </a:lnTo>
                  <a:cubicBezTo>
                    <a:pt x="150812" y="549988"/>
                    <a:pt x="155165" y="563409"/>
                    <a:pt x="151967" y="576123"/>
                  </a:cubicBezTo>
                  <a:lnTo>
                    <a:pt x="137682" y="632312"/>
                  </a:lnTo>
                  <a:lnTo>
                    <a:pt x="205183" y="632312"/>
                  </a:lnTo>
                  <a:lnTo>
                    <a:pt x="215339" y="592040"/>
                  </a:lnTo>
                  <a:cubicBezTo>
                    <a:pt x="224604" y="555221"/>
                    <a:pt x="212030" y="516343"/>
                    <a:pt x="182956" y="491924"/>
                  </a:cubicBezTo>
                  <a:lnTo>
                    <a:pt x="136077" y="452863"/>
                  </a:lnTo>
                  <a:cubicBezTo>
                    <a:pt x="91248" y="415614"/>
                    <a:pt x="65351" y="360325"/>
                    <a:pt x="65431" y="302042"/>
                  </a:cubicBezTo>
                  <a:lnTo>
                    <a:pt x="65431" y="296703"/>
                  </a:lnTo>
                  <a:cubicBezTo>
                    <a:pt x="64650" y="169834"/>
                    <a:pt x="166865" y="66354"/>
                    <a:pt x="293734" y="65573"/>
                  </a:cubicBezTo>
                  <a:cubicBezTo>
                    <a:pt x="294405" y="65569"/>
                    <a:pt x="295076" y="65568"/>
                    <a:pt x="295746" y="65570"/>
                  </a:cubicBezTo>
                  <a:lnTo>
                    <a:pt x="295841" y="65570"/>
                  </a:lnTo>
                  <a:cubicBezTo>
                    <a:pt x="435190" y="65570"/>
                    <a:pt x="508577" y="166829"/>
                    <a:pt x="516736" y="239373"/>
                  </a:cubicBezTo>
                  <a:cubicBezTo>
                    <a:pt x="518109" y="252937"/>
                    <a:pt x="518560" y="266581"/>
                    <a:pt x="518088" y="280206"/>
                  </a:cubicBezTo>
                  <a:lnTo>
                    <a:pt x="517639" y="290387"/>
                  </a:lnTo>
                  <a:lnTo>
                    <a:pt x="579067" y="387029"/>
                  </a:lnTo>
                  <a:lnTo>
                    <a:pt x="523699" y="402541"/>
                  </a:lnTo>
                  <a:lnTo>
                    <a:pt x="523762" y="543136"/>
                  </a:lnTo>
                  <a:cubicBezTo>
                    <a:pt x="523762" y="556230"/>
                    <a:pt x="513152" y="566847"/>
                    <a:pt x="500058" y="566855"/>
                  </a:cubicBezTo>
                  <a:lnTo>
                    <a:pt x="433682" y="566855"/>
                  </a:lnTo>
                  <a:lnTo>
                    <a:pt x="417330" y="632305"/>
                  </a:lnTo>
                  <a:lnTo>
                    <a:pt x="500845" y="632305"/>
                  </a:lnTo>
                  <a:cubicBezTo>
                    <a:pt x="549615" y="632312"/>
                    <a:pt x="589156" y="592787"/>
                    <a:pt x="589164" y="544018"/>
                  </a:cubicBezTo>
                  <a:cubicBezTo>
                    <a:pt x="589164" y="543997"/>
                    <a:pt x="589164" y="543976"/>
                    <a:pt x="589164" y="543954"/>
                  </a:cubicBezTo>
                  <a:lnTo>
                    <a:pt x="589135" y="451538"/>
                  </a:lnTo>
                  <a:lnTo>
                    <a:pt x="626999" y="440936"/>
                  </a:lnTo>
                  <a:lnTo>
                    <a:pt x="627572" y="440765"/>
                  </a:lnTo>
                  <a:cubicBezTo>
                    <a:pt x="649720" y="434116"/>
                    <a:pt x="662284" y="410772"/>
                    <a:pt x="655638" y="388626"/>
                  </a:cubicBezTo>
                  <a:cubicBezTo>
                    <a:pt x="655001" y="386506"/>
                    <a:pt x="654199" y="384441"/>
                    <a:pt x="653235" y="382447"/>
                  </a:cubicBezTo>
                </a:path>
              </a:pathLst>
            </a:custGeom>
            <a:solidFill>
              <a:schemeClr val="accent5"/>
            </a:solidFill>
            <a:ln w="2640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636FB6E-A3EA-47CF-A245-8B0D2158394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6401" y="6260389"/>
            <a:ext cx="1592262" cy="261062"/>
          </a:xfrm>
          <a:noFill/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Mastertextformat bearbeite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596EB65-B9BF-47EF-B959-A26AEC49455A}"/>
              </a:ext>
            </a:extLst>
          </p:cNvPr>
          <p:cNvSpPr txBox="1"/>
          <p:nvPr userDrawn="1"/>
        </p:nvSpPr>
        <p:spPr>
          <a:xfrm>
            <a:off x="9569782" y="6309316"/>
            <a:ext cx="853119" cy="21544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rtl="0"/>
            <a:r>
              <a:rPr lang="en-US" sz="800"/>
              <a:t>A member of 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B8B38FD6-A8D1-4231-B521-14BE15B37F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5117" y="6353959"/>
            <a:ext cx="1454755" cy="225679"/>
          </a:xfrm>
          <a:prstGeom prst="rect">
            <a:avLst/>
          </a:prstGeom>
        </p:spPr>
      </p:pic>
      <p:sp>
        <p:nvSpPr>
          <p:cNvPr id="18" name="Rectangle 15">
            <a:extLst>
              <a:ext uri="{FF2B5EF4-FFF2-40B4-BE49-F238E27FC236}">
                <a16:creationId xmlns:a16="http://schemas.microsoft.com/office/drawing/2014/main" id="{8FCAD1DE-B928-4E06-BC51-463B4024BA95}"/>
              </a:ext>
            </a:extLst>
          </p:cNvPr>
          <p:cNvSpPr/>
          <p:nvPr userDrawn="1"/>
        </p:nvSpPr>
        <p:spPr>
          <a:xfrm>
            <a:off x="706055" y="-695325"/>
            <a:ext cx="4618419" cy="525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Title slide alternative</a:t>
            </a:r>
          </a:p>
        </p:txBody>
      </p:sp>
      <p:sp>
        <p:nvSpPr>
          <p:cNvPr id="19" name="Bildplatzhalter 10">
            <a:extLst>
              <a:ext uri="{FF2B5EF4-FFF2-40B4-BE49-F238E27FC236}">
                <a16:creationId xmlns:a16="http://schemas.microsoft.com/office/drawing/2014/main" id="{4FEEAD01-E583-4198-9598-1071CB72DBB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076450" y="6051551"/>
            <a:ext cx="1724025" cy="469900"/>
          </a:xfrm>
        </p:spPr>
        <p:txBody>
          <a:bodyPr anchor="b"/>
          <a:lstStyle>
            <a:lvl1pPr rtl="0">
              <a:defRPr sz="800"/>
            </a:lvl1pPr>
          </a:lstStyle>
          <a:p>
            <a:r>
              <a:rPr lang="en-US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3940315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A8D5F0-8F80-482A-B2C5-5240B8024D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1130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EA8D5F0-8F80-482A-B2C5-5240B8024D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88D69A0-B033-40C4-9014-38DA954C6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085846"/>
            <a:ext cx="11376024" cy="42291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BB9B651-00D9-4C74-95D7-EC67DE72E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hapter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E74A6AB-DC23-470E-8DAF-B814D76E1A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771527"/>
            <a:ext cx="11376022" cy="288000"/>
          </a:xfrm>
        </p:spPr>
        <p:txBody>
          <a:bodyPr/>
          <a:lstStyle>
            <a:lvl1pPr marL="0" indent="0" rtl="0">
              <a:lnSpc>
                <a:spcPct val="100000"/>
              </a:lnSpc>
              <a:buNone/>
              <a:defRPr sz="1600"/>
            </a:lvl1pPr>
            <a:lvl2pPr marL="92075" indent="0">
              <a:buNone/>
              <a:defRPr/>
            </a:lvl2pPr>
          </a:lstStyle>
          <a:p>
            <a:pPr lvl="0"/>
            <a:r>
              <a:rPr lang="en-US" err="1"/>
              <a:t>Subheadline</a:t>
            </a:r>
            <a:endParaRPr lang="en-US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A6819CE5-3A0D-41BA-9975-22F00812ED4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45778" y="1569722"/>
            <a:ext cx="4046222" cy="2644138"/>
          </a:xfrm>
          <a:solidFill>
            <a:srgbClr val="DFF1F7"/>
          </a:solidFill>
        </p:spPr>
        <p:txBody>
          <a:bodyPr lIns="252000" tIns="180000" rIns="216000" bIns="108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4AFC9C59-C7E0-47B1-8BB9-B3C3208987C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" y="4212273"/>
            <a:ext cx="4046218" cy="2644139"/>
          </a:xfrm>
          <a:solidFill>
            <a:schemeClr val="accent6"/>
          </a:solidFill>
        </p:spPr>
        <p:txBody>
          <a:bodyPr lIns="396000" tIns="180000" rIns="216000" bIns="108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1E4B1E6C-7B90-4A19-8F76-4507C16A1D1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0" y="4212273"/>
            <a:ext cx="4046218" cy="2644139"/>
          </a:xfrm>
          <a:solidFill>
            <a:schemeClr val="accent6"/>
          </a:solidFill>
        </p:spPr>
        <p:txBody>
          <a:bodyPr lIns="252000" tIns="180000" rIns="216000" bIns="108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B9CFA943-4C5E-4D3F-B9FA-507A6C0842B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1569721"/>
            <a:ext cx="2049779" cy="2644138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19" name="Bildplatzhalter 9">
            <a:extLst>
              <a:ext uri="{FF2B5EF4-FFF2-40B4-BE49-F238E27FC236}">
                <a16:creationId xmlns:a16="http://schemas.microsoft.com/office/drawing/2014/main" id="{96C9EE71-4061-43AE-B34E-8293055AC7A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046220" y="4212272"/>
            <a:ext cx="2049779" cy="2644139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21" name="Bildplatzhalter 9">
            <a:extLst>
              <a:ext uri="{FF2B5EF4-FFF2-40B4-BE49-F238E27FC236}">
                <a16:creationId xmlns:a16="http://schemas.microsoft.com/office/drawing/2014/main" id="{8EED8D29-4B5B-4CC1-BAF5-8C29FDFF86F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0142219" y="4212272"/>
            <a:ext cx="2049780" cy="2644139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8F1EE0CA-6278-478E-B6DA-1323F21A23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8626" y="95400"/>
            <a:ext cx="216000" cy="216000"/>
          </a:xfrm>
          <a:noFill/>
        </p:spPr>
        <p:txBody>
          <a:bodyPr vert="horz" lIns="0" tIns="0" rIns="0" bIns="0" rtlCol="0" anchor="ctr"/>
          <a:lstStyle>
            <a:lvl1pPr marL="0" indent="0" algn="l" rtl="0">
              <a:lnSpc>
                <a:spcPct val="100000"/>
              </a:lnSpc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algn="ctr"/>
            <a:r>
              <a:rPr lang="en-US"/>
              <a:t>Mastertextformat bearbeite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E5671E0-BCE4-4D40-BB5D-FCDF6D1BE910}"/>
              </a:ext>
            </a:extLst>
          </p:cNvPr>
          <p:cNvSpPr/>
          <p:nvPr userDrawn="1"/>
        </p:nvSpPr>
        <p:spPr>
          <a:xfrm>
            <a:off x="706056" y="-695325"/>
            <a:ext cx="3770694" cy="525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Team presentation</a:t>
            </a:r>
          </a:p>
        </p:txBody>
      </p:sp>
    </p:spTree>
    <p:extLst>
      <p:ext uri="{BB962C8B-B14F-4D97-AF65-F5344CB8AC3E}">
        <p14:creationId xmlns:p14="http://schemas.microsoft.com/office/powerpoint/2010/main" val="34028262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428E8CB-7B6D-4891-AA67-81884FB66C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1201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428E8CB-7B6D-4891-AA67-81884FB66C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88D69A0-B033-40C4-9014-38DA954C6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085846"/>
            <a:ext cx="11376024" cy="42291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BB9B651-00D9-4C74-95D7-EC67DE72E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hapter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E74A6AB-DC23-470E-8DAF-B814D76E1A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771527"/>
            <a:ext cx="11376022" cy="288000"/>
          </a:xfrm>
        </p:spPr>
        <p:txBody>
          <a:bodyPr/>
          <a:lstStyle>
            <a:lvl1pPr marL="0" indent="0" rtl="0">
              <a:lnSpc>
                <a:spcPct val="100000"/>
              </a:lnSpc>
              <a:buNone/>
              <a:defRPr sz="1600"/>
            </a:lvl1pPr>
            <a:lvl2pPr marL="92075" indent="0">
              <a:buNone/>
              <a:defRPr/>
            </a:lvl2pPr>
          </a:lstStyle>
          <a:p>
            <a:pPr lvl="0"/>
            <a:r>
              <a:rPr lang="en-US" err="1"/>
              <a:t>Subheadline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624EEE1-5367-40CE-8133-CD209723CA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49779" y="1569722"/>
            <a:ext cx="4046221" cy="2644138"/>
          </a:xfrm>
          <a:solidFill>
            <a:srgbClr val="DFF1F7"/>
          </a:solidFill>
        </p:spPr>
        <p:txBody>
          <a:bodyPr lIns="252000" tIns="180000" rIns="216000" bIns="108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A6819CE5-3A0D-41BA-9975-22F00812ED4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45778" y="1569722"/>
            <a:ext cx="4046222" cy="2644138"/>
          </a:xfrm>
          <a:solidFill>
            <a:srgbClr val="DFF1F7"/>
          </a:solidFill>
        </p:spPr>
        <p:txBody>
          <a:bodyPr lIns="252000" tIns="180000" rIns="216000" bIns="108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4AFC9C59-C7E0-47B1-8BB9-B3C3208987C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" y="4212273"/>
            <a:ext cx="4046218" cy="2644139"/>
          </a:xfrm>
          <a:solidFill>
            <a:schemeClr val="accent6"/>
          </a:solidFill>
        </p:spPr>
        <p:txBody>
          <a:bodyPr lIns="396000" tIns="180000" rIns="216000" bIns="108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1E4B1E6C-7B90-4A19-8F76-4507C16A1D1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0" y="4212273"/>
            <a:ext cx="4046218" cy="2644139"/>
          </a:xfrm>
          <a:solidFill>
            <a:schemeClr val="accent6"/>
          </a:solidFill>
        </p:spPr>
        <p:txBody>
          <a:bodyPr lIns="252000" tIns="180000" rIns="216000" bIns="108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C718957-5F41-46E3-B144-0A8DC86560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569721"/>
            <a:ext cx="2049779" cy="2644138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B9CFA943-4C5E-4D3F-B9FA-507A6C0842B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1569721"/>
            <a:ext cx="2049779" cy="2644138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19" name="Bildplatzhalter 9">
            <a:extLst>
              <a:ext uri="{FF2B5EF4-FFF2-40B4-BE49-F238E27FC236}">
                <a16:creationId xmlns:a16="http://schemas.microsoft.com/office/drawing/2014/main" id="{96C9EE71-4061-43AE-B34E-8293055AC7A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046220" y="4212272"/>
            <a:ext cx="2049779" cy="2644139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21" name="Bildplatzhalter 9">
            <a:extLst>
              <a:ext uri="{FF2B5EF4-FFF2-40B4-BE49-F238E27FC236}">
                <a16:creationId xmlns:a16="http://schemas.microsoft.com/office/drawing/2014/main" id="{8EED8D29-4B5B-4CC1-BAF5-8C29FDFF86F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0142219" y="4212272"/>
            <a:ext cx="2049780" cy="2644139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ECEB1E53-9693-47A6-83FA-78C08987A14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8626" y="95400"/>
            <a:ext cx="216000" cy="216000"/>
          </a:xfrm>
          <a:noFill/>
        </p:spPr>
        <p:txBody>
          <a:bodyPr vert="horz" lIns="0" tIns="0" rIns="0" bIns="0" rtlCol="0" anchor="ctr"/>
          <a:lstStyle>
            <a:lvl1pPr marL="0" indent="0" algn="l" rtl="0">
              <a:lnSpc>
                <a:spcPct val="100000"/>
              </a:lnSpc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algn="ctr"/>
            <a:r>
              <a:rPr lang="en-US"/>
              <a:t>Mastertextformat bearbeiten</a:t>
            </a:r>
          </a:p>
        </p:txBody>
      </p:sp>
      <p:sp>
        <p:nvSpPr>
          <p:cNvPr id="22" name="Rectangle 15">
            <a:extLst>
              <a:ext uri="{FF2B5EF4-FFF2-40B4-BE49-F238E27FC236}">
                <a16:creationId xmlns:a16="http://schemas.microsoft.com/office/drawing/2014/main" id="{9E81CA63-39A6-4075-96A0-6C6AE8FD1E53}"/>
              </a:ext>
            </a:extLst>
          </p:cNvPr>
          <p:cNvSpPr/>
          <p:nvPr userDrawn="1"/>
        </p:nvSpPr>
        <p:spPr>
          <a:xfrm>
            <a:off x="706056" y="-695325"/>
            <a:ext cx="3770694" cy="525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Team presentation</a:t>
            </a:r>
          </a:p>
        </p:txBody>
      </p:sp>
    </p:spTree>
    <p:extLst>
      <p:ext uri="{BB962C8B-B14F-4D97-AF65-F5344CB8AC3E}">
        <p14:creationId xmlns:p14="http://schemas.microsoft.com/office/powerpoint/2010/main" val="16255967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A4AE521-DD1A-44A4-AD85-5304F702C3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4123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A4AE521-DD1A-44A4-AD85-5304F702C3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88D69A0-B033-40C4-9014-38DA954C6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085846"/>
            <a:ext cx="11376024" cy="42291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BB9B651-00D9-4C74-95D7-EC67DE72E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hapter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E74A6AB-DC23-470E-8DAF-B814D76E1A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771527"/>
            <a:ext cx="11376022" cy="288000"/>
          </a:xfrm>
        </p:spPr>
        <p:txBody>
          <a:bodyPr/>
          <a:lstStyle>
            <a:lvl1pPr marL="0" indent="0" rtl="0">
              <a:lnSpc>
                <a:spcPct val="100000"/>
              </a:lnSpc>
              <a:buNone/>
              <a:defRPr sz="1600"/>
            </a:lvl1pPr>
            <a:lvl2pPr marL="92075" indent="0">
              <a:buNone/>
              <a:defRPr/>
            </a:lvl2pPr>
          </a:lstStyle>
          <a:p>
            <a:pPr lvl="0"/>
            <a:r>
              <a:rPr lang="en-US" err="1"/>
              <a:t>Subheadline</a:t>
            </a:r>
            <a:endParaRPr lang="en-US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A6819CE5-3A0D-41BA-9975-22F00812ED4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896226" y="1569722"/>
            <a:ext cx="4295774" cy="1764000"/>
          </a:xfrm>
          <a:solidFill>
            <a:srgbClr val="DFF1F7"/>
          </a:solidFill>
        </p:spPr>
        <p:txBody>
          <a:bodyPr lIns="216000" tIns="108000" rIns="216000" bIns="108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B9CFA943-4C5E-4D3F-B9FA-507A6C0842B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1569721"/>
            <a:ext cx="1800225" cy="1764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C3F6BC99-0AE3-4B4A-BED6-B902E5F70EF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47851" y="5092412"/>
            <a:ext cx="4248149" cy="1764000"/>
          </a:xfrm>
          <a:solidFill>
            <a:srgbClr val="DFF1F7"/>
          </a:solidFill>
        </p:spPr>
        <p:txBody>
          <a:bodyPr lIns="216000" tIns="108000" rIns="216000" bIns="108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5" name="Bildplatzhalter 9">
            <a:extLst>
              <a:ext uri="{FF2B5EF4-FFF2-40B4-BE49-F238E27FC236}">
                <a16:creationId xmlns:a16="http://schemas.microsoft.com/office/drawing/2014/main" id="{77B18BF1-916D-4EB9-91B9-974136D363B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" y="5092411"/>
            <a:ext cx="1847850" cy="1764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213B7EC-E7E3-428A-9AC1-7792446EA51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96226" y="5092412"/>
            <a:ext cx="4295774" cy="1764000"/>
          </a:xfrm>
          <a:solidFill>
            <a:srgbClr val="DFF1F7"/>
          </a:solidFill>
        </p:spPr>
        <p:txBody>
          <a:bodyPr lIns="216000" tIns="108000" rIns="216000" bIns="108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7" name="Bildplatzhalter 9">
            <a:extLst>
              <a:ext uri="{FF2B5EF4-FFF2-40B4-BE49-F238E27FC236}">
                <a16:creationId xmlns:a16="http://schemas.microsoft.com/office/drawing/2014/main" id="{35399D20-3B02-439B-9810-5AA03F74823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0" y="5092411"/>
            <a:ext cx="1800225" cy="1764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4AFC9C59-C7E0-47B1-8BB9-B3C3208987C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" y="3327617"/>
            <a:ext cx="4295774" cy="1764000"/>
          </a:xfrm>
          <a:solidFill>
            <a:schemeClr val="accent6"/>
          </a:solidFill>
        </p:spPr>
        <p:txBody>
          <a:bodyPr lIns="396000" tIns="108000" rIns="216000" bIns="108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9" name="Bildplatzhalter 9">
            <a:extLst>
              <a:ext uri="{FF2B5EF4-FFF2-40B4-BE49-F238E27FC236}">
                <a16:creationId xmlns:a16="http://schemas.microsoft.com/office/drawing/2014/main" id="{96C9EE71-4061-43AE-B34E-8293055AC7A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295774" y="3327616"/>
            <a:ext cx="1800225" cy="1764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1E4B1E6C-7B90-4A19-8F76-4507C16A1D1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0" y="3327617"/>
            <a:ext cx="4248150" cy="1764000"/>
          </a:xfrm>
          <a:solidFill>
            <a:schemeClr val="accent6"/>
          </a:solidFill>
        </p:spPr>
        <p:txBody>
          <a:bodyPr lIns="216000" tIns="108000" rIns="216000" bIns="108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21" name="Bildplatzhalter 9">
            <a:extLst>
              <a:ext uri="{FF2B5EF4-FFF2-40B4-BE49-F238E27FC236}">
                <a16:creationId xmlns:a16="http://schemas.microsoft.com/office/drawing/2014/main" id="{8EED8D29-4B5B-4CC1-BAF5-8C29FDFF86F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0344149" y="3327616"/>
            <a:ext cx="1847849" cy="1764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35A618BE-1540-4FBA-92F8-D29DDB5FF5A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8626" y="95400"/>
            <a:ext cx="216000" cy="216000"/>
          </a:xfrm>
          <a:noFill/>
        </p:spPr>
        <p:txBody>
          <a:bodyPr vert="horz" lIns="0" tIns="0" rIns="0" bIns="0" rtlCol="0" anchor="ctr"/>
          <a:lstStyle>
            <a:lvl1pPr marL="0" indent="0" algn="l" rtl="0">
              <a:lnSpc>
                <a:spcPct val="100000"/>
              </a:lnSpc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algn="ctr"/>
            <a:r>
              <a:rPr lang="en-US"/>
              <a:t>Mastertextformat bearbeiten</a:t>
            </a:r>
          </a:p>
        </p:txBody>
      </p:sp>
      <p:sp>
        <p:nvSpPr>
          <p:cNvPr id="24" name="Rectangle 15">
            <a:extLst>
              <a:ext uri="{FF2B5EF4-FFF2-40B4-BE49-F238E27FC236}">
                <a16:creationId xmlns:a16="http://schemas.microsoft.com/office/drawing/2014/main" id="{7554B820-2EDB-46FF-87BC-0D492C8D0DA7}"/>
              </a:ext>
            </a:extLst>
          </p:cNvPr>
          <p:cNvSpPr/>
          <p:nvPr userDrawn="1"/>
        </p:nvSpPr>
        <p:spPr>
          <a:xfrm>
            <a:off x="706056" y="-695325"/>
            <a:ext cx="3770694" cy="525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Team presentation</a:t>
            </a:r>
          </a:p>
        </p:txBody>
      </p:sp>
    </p:spTree>
    <p:extLst>
      <p:ext uri="{BB962C8B-B14F-4D97-AF65-F5344CB8AC3E}">
        <p14:creationId xmlns:p14="http://schemas.microsoft.com/office/powerpoint/2010/main" val="26924857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F9BDA23-0E9E-4E50-8BC7-9D64396997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8583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F9BDA23-0E9E-4E50-8BC7-9D6439699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88D69A0-B033-40C4-9014-38DA954C6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085846"/>
            <a:ext cx="11376024" cy="42291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BB9B651-00D9-4C74-95D7-EC67DE72E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hapter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E74A6AB-DC23-470E-8DAF-B814D76E1A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771527"/>
            <a:ext cx="11376022" cy="288000"/>
          </a:xfrm>
        </p:spPr>
        <p:txBody>
          <a:bodyPr/>
          <a:lstStyle>
            <a:lvl1pPr marL="0" indent="0" rtl="0">
              <a:lnSpc>
                <a:spcPct val="100000"/>
              </a:lnSpc>
              <a:buNone/>
              <a:defRPr sz="1600"/>
            </a:lvl1pPr>
            <a:lvl2pPr marL="92075" indent="0">
              <a:buNone/>
              <a:defRPr/>
            </a:lvl2pPr>
          </a:lstStyle>
          <a:p>
            <a:pPr lvl="0"/>
            <a:r>
              <a:rPr lang="en-US" err="1"/>
              <a:t>Subheadline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624EEE1-5367-40CE-8133-CD209723CA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47851" y="1569722"/>
            <a:ext cx="4248149" cy="1764000"/>
          </a:xfrm>
          <a:solidFill>
            <a:srgbClr val="DFF1F7"/>
          </a:solidFill>
        </p:spPr>
        <p:txBody>
          <a:bodyPr lIns="216000" tIns="108000" rIns="216000" bIns="108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C718957-5F41-46E3-B144-0A8DC86560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569721"/>
            <a:ext cx="1847850" cy="1764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A6819CE5-3A0D-41BA-9975-22F00812ED4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896226" y="1569722"/>
            <a:ext cx="4295774" cy="1764000"/>
          </a:xfrm>
          <a:solidFill>
            <a:srgbClr val="DFF1F7"/>
          </a:solidFill>
        </p:spPr>
        <p:txBody>
          <a:bodyPr lIns="216000" tIns="108000" rIns="216000" bIns="108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B9CFA943-4C5E-4D3F-B9FA-507A6C0842B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1569721"/>
            <a:ext cx="1800225" cy="1764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C3F6BC99-0AE3-4B4A-BED6-B902E5F70EF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47851" y="5092412"/>
            <a:ext cx="4248149" cy="1764000"/>
          </a:xfrm>
          <a:solidFill>
            <a:srgbClr val="DFF1F7"/>
          </a:solidFill>
        </p:spPr>
        <p:txBody>
          <a:bodyPr lIns="216000" tIns="108000" rIns="216000" bIns="108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5" name="Bildplatzhalter 9">
            <a:extLst>
              <a:ext uri="{FF2B5EF4-FFF2-40B4-BE49-F238E27FC236}">
                <a16:creationId xmlns:a16="http://schemas.microsoft.com/office/drawing/2014/main" id="{77B18BF1-916D-4EB9-91B9-974136D363B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" y="5092411"/>
            <a:ext cx="1847850" cy="1764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213B7EC-E7E3-428A-9AC1-7792446EA51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96226" y="5092412"/>
            <a:ext cx="4295774" cy="1764000"/>
          </a:xfrm>
          <a:solidFill>
            <a:srgbClr val="DFF1F7"/>
          </a:solidFill>
        </p:spPr>
        <p:txBody>
          <a:bodyPr lIns="216000" tIns="108000" rIns="216000" bIns="108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7" name="Bildplatzhalter 9">
            <a:extLst>
              <a:ext uri="{FF2B5EF4-FFF2-40B4-BE49-F238E27FC236}">
                <a16:creationId xmlns:a16="http://schemas.microsoft.com/office/drawing/2014/main" id="{35399D20-3B02-439B-9810-5AA03F74823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0" y="5092411"/>
            <a:ext cx="1800225" cy="1764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4AFC9C59-C7E0-47B1-8BB9-B3C3208987C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" y="3327617"/>
            <a:ext cx="4295774" cy="1764000"/>
          </a:xfrm>
          <a:solidFill>
            <a:schemeClr val="accent6"/>
          </a:solidFill>
        </p:spPr>
        <p:txBody>
          <a:bodyPr lIns="396000" tIns="108000" rIns="216000" bIns="108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9" name="Bildplatzhalter 9">
            <a:extLst>
              <a:ext uri="{FF2B5EF4-FFF2-40B4-BE49-F238E27FC236}">
                <a16:creationId xmlns:a16="http://schemas.microsoft.com/office/drawing/2014/main" id="{96C9EE71-4061-43AE-B34E-8293055AC7A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295774" y="3327616"/>
            <a:ext cx="1800225" cy="1764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1E4B1E6C-7B90-4A19-8F76-4507C16A1D1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0" y="3327617"/>
            <a:ext cx="4248150" cy="1764000"/>
          </a:xfrm>
          <a:solidFill>
            <a:schemeClr val="accent6"/>
          </a:solidFill>
        </p:spPr>
        <p:txBody>
          <a:bodyPr lIns="216000" tIns="108000" rIns="216000" bIns="108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21" name="Bildplatzhalter 9">
            <a:extLst>
              <a:ext uri="{FF2B5EF4-FFF2-40B4-BE49-F238E27FC236}">
                <a16:creationId xmlns:a16="http://schemas.microsoft.com/office/drawing/2014/main" id="{8EED8D29-4B5B-4CC1-BAF5-8C29FDFF86F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0344149" y="3327616"/>
            <a:ext cx="1847849" cy="1764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13258268-AA08-4A18-BD41-5624F6934CF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8626" y="95400"/>
            <a:ext cx="216000" cy="216000"/>
          </a:xfrm>
          <a:noFill/>
        </p:spPr>
        <p:txBody>
          <a:bodyPr vert="horz" lIns="0" tIns="0" rIns="0" bIns="0" rtlCol="0" anchor="ctr"/>
          <a:lstStyle>
            <a:lvl1pPr marL="0" indent="0" algn="l" rtl="0">
              <a:lnSpc>
                <a:spcPct val="100000"/>
              </a:lnSpc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algn="ctr"/>
            <a:r>
              <a:rPr lang="en-US"/>
              <a:t>Mastertextformat bearbeiten</a:t>
            </a:r>
          </a:p>
        </p:txBody>
      </p:sp>
      <p:sp>
        <p:nvSpPr>
          <p:cNvPr id="24" name="Rectangle 15">
            <a:extLst>
              <a:ext uri="{FF2B5EF4-FFF2-40B4-BE49-F238E27FC236}">
                <a16:creationId xmlns:a16="http://schemas.microsoft.com/office/drawing/2014/main" id="{B2628C00-E4D9-490F-BFAE-14C2BCB72798}"/>
              </a:ext>
            </a:extLst>
          </p:cNvPr>
          <p:cNvSpPr/>
          <p:nvPr userDrawn="1"/>
        </p:nvSpPr>
        <p:spPr>
          <a:xfrm>
            <a:off x="706056" y="-695325"/>
            <a:ext cx="3770694" cy="525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Team presentation</a:t>
            </a:r>
          </a:p>
        </p:txBody>
      </p:sp>
    </p:spTree>
    <p:extLst>
      <p:ext uri="{BB962C8B-B14F-4D97-AF65-F5344CB8AC3E}">
        <p14:creationId xmlns:p14="http://schemas.microsoft.com/office/powerpoint/2010/main" val="18903133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2D479EF-5570-4D30-A03A-B7AFA7DAB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0108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2D479EF-5570-4D30-A03A-B7AFA7DAB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1B6E1211-D076-4A9A-BC93-FB9564185F89}"/>
              </a:ext>
            </a:extLst>
          </p:cNvPr>
          <p:cNvSpPr/>
          <p:nvPr userDrawn="1"/>
        </p:nvSpPr>
        <p:spPr>
          <a:xfrm>
            <a:off x="0" y="0"/>
            <a:ext cx="12192000" cy="4953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l" rtl="0">
              <a:lnSpc>
                <a:spcPct val="12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9CBDEF6-E977-475E-AB77-56E3DE8DA3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95500" y="2692400"/>
            <a:ext cx="8001000" cy="1485900"/>
          </a:xfrm>
        </p:spPr>
        <p:txBody>
          <a:bodyPr/>
          <a:lstStyle>
            <a:lvl1pPr marL="0" indent="0" algn="ctr" rtl="0">
              <a:lnSpc>
                <a:spcPct val="100000"/>
              </a:lnSpc>
              <a:buNone/>
              <a:defRPr sz="2400" b="1"/>
            </a:lvl1pPr>
            <a:lvl2pPr marL="92075" indent="0" algn="ctr" rtl="0">
              <a:lnSpc>
                <a:spcPct val="100000"/>
              </a:lnSpc>
              <a:buNone/>
              <a:defRPr sz="2400" b="1"/>
            </a:lvl2pPr>
            <a:lvl3pPr marL="182562" indent="0" algn="ctr" rtl="0">
              <a:lnSpc>
                <a:spcPct val="100000"/>
              </a:lnSpc>
              <a:buNone/>
              <a:defRPr sz="2400" b="1"/>
            </a:lvl3pPr>
            <a:lvl4pPr marL="266700" indent="0" algn="ctr" rtl="0">
              <a:lnSpc>
                <a:spcPct val="100000"/>
              </a:lnSpc>
              <a:buNone/>
              <a:defRPr sz="2400" b="1"/>
            </a:lvl4pPr>
            <a:lvl5pPr marL="358775" indent="0" algn="ctr" rtl="0">
              <a:lnSpc>
                <a:spcPct val="100000"/>
              </a:lnSpc>
              <a:buNone/>
              <a:defRPr sz="2400" b="1"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67C271D-7F60-4A36-A068-2A769FE43B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95500" y="4534194"/>
            <a:ext cx="8001000" cy="254000"/>
          </a:xfrm>
        </p:spPr>
        <p:txBody>
          <a:bodyPr/>
          <a:lstStyle>
            <a:lvl1pPr marL="0" indent="0" algn="ctr" rtl="0">
              <a:lnSpc>
                <a:spcPct val="100000"/>
              </a:lnSpc>
              <a:buNone/>
              <a:defRPr sz="1400" b="0">
                <a:solidFill>
                  <a:schemeClr val="accent5"/>
                </a:solidFill>
              </a:defRPr>
            </a:lvl1pPr>
            <a:lvl2pPr marL="92075" indent="0" algn="ctr">
              <a:lnSpc>
                <a:spcPct val="100000"/>
              </a:lnSpc>
              <a:buNone/>
              <a:defRPr sz="2400" b="1"/>
            </a:lvl2pPr>
            <a:lvl3pPr marL="182562" indent="0" algn="ctr">
              <a:lnSpc>
                <a:spcPct val="100000"/>
              </a:lnSpc>
              <a:buNone/>
              <a:defRPr sz="2400" b="1"/>
            </a:lvl3pPr>
            <a:lvl4pPr marL="266700" indent="0" algn="ctr">
              <a:lnSpc>
                <a:spcPct val="100000"/>
              </a:lnSpc>
              <a:buNone/>
              <a:defRPr sz="2400" b="1"/>
            </a:lvl4pPr>
            <a:lvl5pPr marL="358775" indent="0" algn="ctr">
              <a:lnSpc>
                <a:spcPct val="100000"/>
              </a:lnSpc>
              <a:buNone/>
              <a:defRPr sz="2400" b="1"/>
            </a:lvl5pPr>
          </a:lstStyle>
          <a:p>
            <a:pPr lvl="0"/>
            <a:r>
              <a:rPr lang="en-US"/>
              <a:t>Mastertextformat bearbeit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C010CD4-0F79-4886-9834-F2C81E9E9643}"/>
              </a:ext>
            </a:extLst>
          </p:cNvPr>
          <p:cNvSpPr/>
          <p:nvPr userDrawn="1"/>
        </p:nvSpPr>
        <p:spPr>
          <a:xfrm>
            <a:off x="0" y="0"/>
            <a:ext cx="12192000" cy="584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l" rtl="0">
              <a:lnSpc>
                <a:spcPct val="12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3" name="Rectangle 15">
            <a:extLst>
              <a:ext uri="{FF2B5EF4-FFF2-40B4-BE49-F238E27FC236}">
                <a16:creationId xmlns:a16="http://schemas.microsoft.com/office/drawing/2014/main" id="{231DE48B-4C35-40A1-AAEA-D0CC279D2390}"/>
              </a:ext>
            </a:extLst>
          </p:cNvPr>
          <p:cNvSpPr/>
          <p:nvPr userDrawn="1"/>
        </p:nvSpPr>
        <p:spPr>
          <a:xfrm>
            <a:off x="706056" y="-695325"/>
            <a:ext cx="3770694" cy="525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Quotes</a:t>
            </a:r>
          </a:p>
        </p:txBody>
      </p:sp>
    </p:spTree>
    <p:extLst>
      <p:ext uri="{BB962C8B-B14F-4D97-AF65-F5344CB8AC3E}">
        <p14:creationId xmlns:p14="http://schemas.microsoft.com/office/powerpoint/2010/main" val="1206924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94730DB-0D19-4505-A103-82B755AC52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0975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94730DB-0D19-4505-A103-82B755AC5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hteck 25">
            <a:extLst>
              <a:ext uri="{FF2B5EF4-FFF2-40B4-BE49-F238E27FC236}">
                <a16:creationId xmlns:a16="http://schemas.microsoft.com/office/drawing/2014/main" id="{FD0E7F44-DF10-4899-8171-2D08BDBA762F}"/>
              </a:ext>
            </a:extLst>
          </p:cNvPr>
          <p:cNvSpPr/>
          <p:nvPr userDrawn="1"/>
        </p:nvSpPr>
        <p:spPr>
          <a:xfrm>
            <a:off x="1" y="1"/>
            <a:ext cx="703262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144000" rIns="216000" bIns="144000" rtlCol="0" anchor="t"/>
          <a:lstStyle/>
          <a:p>
            <a:pPr algn="l" rtl="0">
              <a:lnSpc>
                <a:spcPct val="12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5BB18F1-1BDC-43BA-86DD-1932BB50004C}"/>
              </a:ext>
            </a:extLst>
          </p:cNvPr>
          <p:cNvSpPr/>
          <p:nvPr userDrawn="1"/>
        </p:nvSpPr>
        <p:spPr>
          <a:xfrm>
            <a:off x="706056" y="-695325"/>
            <a:ext cx="3770694" cy="525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End of presentation</a:t>
            </a:r>
          </a:p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(please include photos)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D0557429-5EEE-417C-A923-9A42B125DADC}"/>
              </a:ext>
            </a:extLst>
          </p:cNvPr>
          <p:cNvSpPr/>
          <p:nvPr userDrawn="1"/>
        </p:nvSpPr>
        <p:spPr>
          <a:xfrm>
            <a:off x="7032625" y="1"/>
            <a:ext cx="51593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144000" rIns="216000" bIns="144000" rtlCol="0" anchor="t"/>
          <a:lstStyle/>
          <a:p>
            <a:pPr algn="l" rtl="0">
              <a:lnSpc>
                <a:spcPct val="12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645A6D1-59A7-44D8-AFD8-21452AC25F2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21069" y="1547061"/>
            <a:ext cx="2043432" cy="2560933"/>
          </a:xfrm>
          <a:solidFill>
            <a:schemeClr val="accent3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5F889BF6-4DCD-480D-921F-E5D36E01863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30002" y="1547061"/>
            <a:ext cx="2044800" cy="2560933"/>
          </a:xfrm>
          <a:solidFill>
            <a:schemeClr val="accent3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1385B43D-087D-41CD-8304-6D91EA4C54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21069" y="4526659"/>
            <a:ext cx="2413000" cy="1378268"/>
          </a:xfrm>
          <a:noFill/>
        </p:spPr>
        <p:txBody>
          <a:bodyPr lIns="0" tIns="0" rIns="0" bIns="0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Mastertextformat bearbeiten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9E7D4F53-EB60-4254-A0DB-53CFB1B522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30002" y="4526659"/>
            <a:ext cx="2449513" cy="1378268"/>
          </a:xfrm>
          <a:noFill/>
        </p:spPr>
        <p:txBody>
          <a:bodyPr lIns="0" tIns="0" rIns="0" bIns="0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Mastertextformat bearbeiten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DFAEFDEC-E2AE-4B02-8033-86C2DDEA111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59700" y="4526659"/>
            <a:ext cx="3676650" cy="1378268"/>
          </a:xfrm>
          <a:noFill/>
        </p:spPr>
        <p:txBody>
          <a:bodyPr lIns="0" tIns="0" rIns="0" bIns="0"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Mastertextformat bearbeiten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40EF8C27-CEC8-45D6-B73E-7C883A1E39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9700" y="1547061"/>
            <a:ext cx="2187116" cy="405564"/>
          </a:xfrm>
          <a:prstGeom prst="rect">
            <a:avLst/>
          </a:prstGeom>
        </p:spPr>
      </p:pic>
      <p:pic>
        <p:nvPicPr>
          <p:cNvPr id="18" name="Picture 16" descr="S:\Secure Daten\Spaces\0000 h&amp;z-Standards\05 Logos\04 TTA\h&amp;z_transformation_alliance.png">
            <a:extLst>
              <a:ext uri="{FF2B5EF4-FFF2-40B4-BE49-F238E27FC236}">
                <a16:creationId xmlns:a16="http://schemas.microsoft.com/office/drawing/2014/main" id="{C5B7D5A8-1C57-431F-9A95-3A7FB1F6C5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59700" y="2282669"/>
            <a:ext cx="1723856" cy="242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69" descr="S:\Secure Daten\Spaces\0000 h&amp;z-Standards\05 Logos\07 Ecosystem\transaction engineers.jpg">
            <a:extLst>
              <a:ext uri="{FF2B5EF4-FFF2-40B4-BE49-F238E27FC236}">
                <a16:creationId xmlns:a16="http://schemas.microsoft.com/office/drawing/2014/main" id="{F35C0E5C-7E64-4A9C-B0B0-678A68FFECD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59700" y="2986361"/>
            <a:ext cx="883444" cy="189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2BCC38F3-1506-4573-B5ED-484C9C2BC8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9700" y="3360923"/>
            <a:ext cx="633413" cy="185737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76CECE40-7793-430E-8C58-504D0E6DE0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9700" y="3662583"/>
            <a:ext cx="940594" cy="241079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0C820793-AD16-4204-BAC1-D2D019D0CAD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7787402" y="2611042"/>
            <a:ext cx="545386" cy="245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752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lux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A41F1622-7055-438B-9F95-2B8E50C915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069096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A41F1622-7055-438B-9F95-2B8E50C915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texte 3"/>
          <p:cNvSpPr>
            <a:spLocks noGrp="1"/>
          </p:cNvSpPr>
          <p:nvPr>
            <p:ph type="body" sz="quarter" idx="16" hasCustomPrompt="1"/>
          </p:nvPr>
        </p:nvSpPr>
        <p:spPr>
          <a:xfrm>
            <a:off x="751877" y="1632031"/>
            <a:ext cx="11070139" cy="4468733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marL="201980" indent="-201980"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Titre</a:t>
            </a:r>
            <a:endParaRPr lang="en-US"/>
          </a:p>
          <a:p>
            <a:pPr lvl="1"/>
            <a:r>
              <a:rPr lang="en-US" err="1"/>
              <a:t>Contenu</a:t>
            </a:r>
            <a:endParaRPr lang="en-US"/>
          </a:p>
          <a:p>
            <a:pPr lvl="2"/>
            <a:r>
              <a:rPr lang="en-US" err="1"/>
              <a:t>Détail</a:t>
            </a:r>
            <a:endParaRPr lang="en-US"/>
          </a:p>
          <a:p>
            <a:pPr lvl="3"/>
            <a:r>
              <a:rPr lang="en-US"/>
              <a:t>Sous-</a:t>
            </a:r>
            <a:r>
              <a:rPr lang="en-US" err="1"/>
              <a:t>détail</a:t>
            </a:r>
            <a:endParaRPr lang="en-US"/>
          </a:p>
          <a:p>
            <a:pPr lvl="4"/>
            <a:r>
              <a:rPr lang="en-US"/>
              <a:t>Sous-</a:t>
            </a:r>
            <a:r>
              <a:rPr lang="en-US" err="1"/>
              <a:t>détail</a:t>
            </a:r>
            <a:endParaRPr lang="en-US"/>
          </a:p>
        </p:txBody>
      </p:sp>
      <p:sp>
        <p:nvSpPr>
          <p:cNvPr id="6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535936" y="378952"/>
            <a:ext cx="11286078" cy="756571"/>
          </a:xfrm>
          <a:prstGeom prst="rect">
            <a:avLst/>
          </a:prstGeom>
        </p:spPr>
        <p:txBody>
          <a:bodyPr rIns="0"/>
          <a:lstStyle>
            <a:lvl1pPr rtl="0">
              <a:lnSpc>
                <a:spcPct val="73000"/>
              </a:lnSpc>
              <a:spcBef>
                <a:spcPts val="0"/>
              </a:spcBef>
              <a:defRPr sz="2400" b="1" cap="none" baseline="0">
                <a:latin typeface="+mj-lt"/>
              </a:defRPr>
            </a:lvl1pPr>
            <a:lvl2pPr rtl="0">
              <a:lnSpc>
                <a:spcPct val="80000"/>
              </a:lnSpc>
              <a:spcBef>
                <a:spcPts val="0"/>
              </a:spcBef>
              <a:defRPr sz="2200" b="0" cap="all">
                <a:solidFill>
                  <a:schemeClr val="tx2"/>
                </a:solidFill>
                <a:latin typeface="+mj-lt"/>
              </a:defRPr>
            </a:lvl2pPr>
            <a:lvl3pPr marL="0" indent="0" rtl="0">
              <a:lnSpc>
                <a:spcPct val="8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2200" b="0">
                <a:solidFill>
                  <a:schemeClr val="tx2"/>
                </a:solidFill>
                <a:latin typeface="+mj-lt"/>
              </a:defRPr>
            </a:lvl3pPr>
            <a:lvl4pPr marL="0" indent="0">
              <a:buFont typeface="Calibri" panose="020F0502020204030204" pitchFamily="34" charset="0"/>
              <a:buChar char="​"/>
              <a:defRPr b="0">
                <a:solidFill>
                  <a:schemeClr val="accent4"/>
                </a:solidFill>
              </a:defRPr>
            </a:lvl4pPr>
            <a:lvl5pPr marL="0" indent="0"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err="1"/>
              <a:t>Titre</a:t>
            </a:r>
            <a:endParaRPr lang="en-US"/>
          </a:p>
          <a:p>
            <a:pPr lvl="1"/>
            <a:r>
              <a:rPr lang="en-US"/>
              <a:t>Sous-</a:t>
            </a:r>
            <a:r>
              <a:rPr lang="en-US" err="1"/>
              <a:t>titre</a:t>
            </a:r>
            <a:endParaRPr lang="en-US"/>
          </a:p>
          <a:p>
            <a:pPr lvl="2"/>
            <a:r>
              <a:rPr lang="en-US"/>
              <a:t>Sous-</a:t>
            </a:r>
            <a:r>
              <a:rPr lang="en-US" err="1"/>
              <a:t>titre</a:t>
            </a:r>
            <a:endParaRPr lang="en-US"/>
          </a:p>
        </p:txBody>
      </p:sp>
      <p:sp>
        <p:nvSpPr>
          <p:cNvPr id="8" name="Moins">
            <a:extLst>
              <a:ext uri="{FF2B5EF4-FFF2-40B4-BE49-F238E27FC236}">
                <a16:creationId xmlns:a16="http://schemas.microsoft.com/office/drawing/2014/main" id="{58CDCD27-8148-4D08-808B-D9D71104AA53}"/>
              </a:ext>
            </a:extLst>
          </p:cNvPr>
          <p:cNvSpPr>
            <a:spLocks noChangeAspect="1"/>
          </p:cNvSpPr>
          <p:nvPr userDrawn="1"/>
        </p:nvSpPr>
        <p:spPr bwMode="auto">
          <a:xfrm rot="5400000">
            <a:off x="416736" y="43810"/>
            <a:ext cx="554846" cy="115436"/>
          </a:xfrm>
          <a:custGeom>
            <a:avLst/>
            <a:gdLst>
              <a:gd name="T0" fmla="*/ 58 w 617"/>
              <a:gd name="T1" fmla="*/ 0 h 132"/>
              <a:gd name="T2" fmla="*/ 0 w 617"/>
              <a:gd name="T3" fmla="*/ 91 h 132"/>
              <a:gd name="T4" fmla="*/ 0 w 617"/>
              <a:gd name="T5" fmla="*/ 132 h 132"/>
              <a:gd name="T6" fmla="*/ 549 w 617"/>
              <a:gd name="T7" fmla="*/ 132 h 132"/>
              <a:gd name="T8" fmla="*/ 617 w 617"/>
              <a:gd name="T9" fmla="*/ 38 h 132"/>
              <a:gd name="T10" fmla="*/ 617 w 617"/>
              <a:gd name="T11" fmla="*/ 0 h 132"/>
              <a:gd name="T12" fmla="*/ 58 w 617"/>
              <a:gd name="T13" fmla="*/ 0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7" h="132">
                <a:moveTo>
                  <a:pt x="58" y="0"/>
                </a:moveTo>
                <a:cubicBezTo>
                  <a:pt x="11" y="0"/>
                  <a:pt x="0" y="37"/>
                  <a:pt x="0" y="91"/>
                </a:cubicBezTo>
                <a:cubicBezTo>
                  <a:pt x="0" y="132"/>
                  <a:pt x="0" y="132"/>
                  <a:pt x="0" y="132"/>
                </a:cubicBezTo>
                <a:cubicBezTo>
                  <a:pt x="549" y="132"/>
                  <a:pt x="549" y="132"/>
                  <a:pt x="549" y="132"/>
                </a:cubicBezTo>
                <a:cubicBezTo>
                  <a:pt x="610" y="132"/>
                  <a:pt x="617" y="86"/>
                  <a:pt x="617" y="38"/>
                </a:cubicBezTo>
                <a:cubicBezTo>
                  <a:pt x="617" y="0"/>
                  <a:pt x="617" y="0"/>
                  <a:pt x="617" y="0"/>
                </a:cubicBezTo>
                <a:lnTo>
                  <a:pt x="58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32079" tIns="66040" rIns="132079" bIns="6604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541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04335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_h&amp;z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3018407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86" imgH="286" progId="TCLayout.ActiveDocument.1">
                  <p:embed/>
                </p:oleObj>
              </mc:Choice>
              <mc:Fallback>
                <p:oleObj name="think-cell Folie" r:id="rId3" imgW="286" imgH="28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68923" y="1004400"/>
            <a:ext cx="11254154" cy="205200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Subtitel, Arial 14 Pt., Schriftfarbe Dunkelblau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pPr lvl="0"/>
            <a:r>
              <a:rPr lang="en-GB"/>
              <a:t>Titel, Arial 20 Pt., Schriftfarbe Brombeer (R125-G45-B85)</a:t>
            </a:r>
          </a:p>
        </p:txBody>
      </p:sp>
    </p:spTree>
    <p:extLst>
      <p:ext uri="{BB962C8B-B14F-4D97-AF65-F5344CB8AC3E}">
        <p14:creationId xmlns:p14="http://schemas.microsoft.com/office/powerpoint/2010/main" val="19328827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883965-8954-4879-A34F-11B62A90C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3268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883965-8954-4879-A34F-11B62A90C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1" name="Bildplatzhalter 150">
            <a:extLst>
              <a:ext uri="{FF2B5EF4-FFF2-40B4-BE49-F238E27FC236}">
                <a16:creationId xmlns:a16="http://schemas.microsoft.com/office/drawing/2014/main" id="{E7F32F5B-EA82-4BC0-9EAC-09106C33DD9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641138 w 12192000"/>
              <a:gd name="connsiteY3" fmla="*/ 6858000 h 6858000"/>
              <a:gd name="connsiteX4" fmla="*/ 11641138 w 12192000"/>
              <a:gd name="connsiteY4" fmla="*/ 6857999 h 6858000"/>
              <a:gd name="connsiteX5" fmla="*/ 11641138 w 12192000"/>
              <a:gd name="connsiteY5" fmla="*/ 4869000 h 6858000"/>
              <a:gd name="connsiteX6" fmla="*/ 11641138 w 12192000"/>
              <a:gd name="connsiteY6" fmla="*/ 4796848 h 6858000"/>
              <a:gd name="connsiteX7" fmla="*/ 0 w 12192000"/>
              <a:gd name="connsiteY7" fmla="*/ 47968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641138" y="6858000"/>
                </a:lnTo>
                <a:lnTo>
                  <a:pt x="11641138" y="6857999"/>
                </a:lnTo>
                <a:lnTo>
                  <a:pt x="11641138" y="4869000"/>
                </a:lnTo>
                <a:lnTo>
                  <a:pt x="11641138" y="4796848"/>
                </a:lnTo>
                <a:lnTo>
                  <a:pt x="0" y="4796848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</p:spPr>
        <p:txBody>
          <a:bodyPr wrap="square" lIns="288000" tIns="0" rIns="288000" bIns="3240000" anchor="ctr">
            <a:noAutofit/>
          </a:bodyPr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br>
              <a:rPr lang="en-US"/>
            </a:b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</a:t>
            </a:r>
            <a:br>
              <a:rPr lang="en-US"/>
            </a:br>
            <a:r>
              <a:rPr lang="en-US"/>
              <a:t>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47A462B-8672-496C-BE67-810F6B828B9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0456331" y="6980755"/>
            <a:ext cx="769781" cy="175612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pPr algn="r"/>
            <a:fld id="{65F9ECCF-49D5-46D1-A756-A7C83800ED77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7872437-F00C-4545-B4BC-9E6898EC20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040170" y="6980755"/>
            <a:ext cx="2416161" cy="175612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EA61544-45E5-41A9-943B-0DB3C9C640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226113" y="6980755"/>
            <a:ext cx="413414" cy="175612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A4DA651-6936-48F3-ACBE-CFE0B97E9E2F}"/>
              </a:ext>
            </a:extLst>
          </p:cNvPr>
          <p:cNvGrpSpPr/>
          <p:nvPr userDrawn="1"/>
        </p:nvGrpSpPr>
        <p:grpSpPr bwMode="gray">
          <a:xfrm>
            <a:off x="-93663" y="-163318"/>
            <a:ext cx="12408868" cy="7126208"/>
            <a:chOff x="-93663" y="-163318"/>
            <a:chExt cx="12408868" cy="7126208"/>
          </a:xfrm>
        </p:grpSpPr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D96192A8-A102-49D8-BCBF-8621258C00B8}"/>
                </a:ext>
              </a:extLst>
            </p:cNvPr>
            <p:cNvGrpSpPr/>
            <p:nvPr userDrawn="1"/>
          </p:nvGrpSpPr>
          <p:grpSpPr bwMode="gray">
            <a:xfrm>
              <a:off x="-93663" y="368300"/>
              <a:ext cx="68263" cy="5976938"/>
              <a:chOff x="-93663" y="368300"/>
              <a:chExt cx="68263" cy="5976938"/>
            </a:xfrm>
          </p:grpSpPr>
          <p:cxnSp>
            <p:nvCxnSpPr>
              <p:cNvPr id="73" name="Gerader Verbinder 72">
                <a:extLst>
                  <a:ext uri="{FF2B5EF4-FFF2-40B4-BE49-F238E27FC236}">
                    <a16:creationId xmlns:a16="http://schemas.microsoft.com/office/drawing/2014/main" id="{F17FCB6E-4527-4B46-8E1A-F84E649C422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8300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Gerader Verbinder 73">
                <a:extLst>
                  <a:ext uri="{FF2B5EF4-FFF2-40B4-BE49-F238E27FC236}">
                    <a16:creationId xmlns:a16="http://schemas.microsoft.com/office/drawing/2014/main" id="{43D68C80-3DAE-4B0C-9A18-619570AF0B7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090083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r Verbinder 74">
                <a:extLst>
                  <a:ext uri="{FF2B5EF4-FFF2-40B4-BE49-F238E27FC236}">
                    <a16:creationId xmlns:a16="http://schemas.microsoft.com/office/drawing/2014/main" id="{76B8BA71-27F6-45EE-820B-B11866C9EC4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449917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r Verbinder 75">
                <a:extLst>
                  <a:ext uri="{FF2B5EF4-FFF2-40B4-BE49-F238E27FC236}">
                    <a16:creationId xmlns:a16="http://schemas.microsoft.com/office/drawing/2014/main" id="{1E974837-9103-4D9B-86FB-9718950F6EA0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82428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r Verbinder 76">
                <a:extLst>
                  <a:ext uri="{FF2B5EF4-FFF2-40B4-BE49-F238E27FC236}">
                    <a16:creationId xmlns:a16="http://schemas.microsoft.com/office/drawing/2014/main" id="{E47FC3FD-6259-42A2-B019-4D0710B3F503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96822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r Verbinder 77">
                <a:extLst>
                  <a:ext uri="{FF2B5EF4-FFF2-40B4-BE49-F238E27FC236}">
                    <a16:creationId xmlns:a16="http://schemas.microsoft.com/office/drawing/2014/main" id="{D4C42C3A-E695-4053-9548-853662932B5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2194DC05-0BBA-4CA4-9180-769934326A38}"/>
                </a:ext>
              </a:extLst>
            </p:cNvPr>
            <p:cNvGrpSpPr/>
            <p:nvPr userDrawn="1"/>
          </p:nvGrpSpPr>
          <p:grpSpPr bwMode="gray">
            <a:xfrm>
              <a:off x="12246942" y="368300"/>
              <a:ext cx="68263" cy="5976938"/>
              <a:chOff x="-93663" y="368300"/>
              <a:chExt cx="68263" cy="5976938"/>
            </a:xfrm>
          </p:grpSpPr>
          <p:cxnSp>
            <p:nvCxnSpPr>
              <p:cNvPr id="67" name="Gerader Verbinder 66">
                <a:extLst>
                  <a:ext uri="{FF2B5EF4-FFF2-40B4-BE49-F238E27FC236}">
                    <a16:creationId xmlns:a16="http://schemas.microsoft.com/office/drawing/2014/main" id="{F09AC357-41AD-49FA-BC7B-8FD106F44CA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8300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Gerader Verbinder 67">
                <a:extLst>
                  <a:ext uri="{FF2B5EF4-FFF2-40B4-BE49-F238E27FC236}">
                    <a16:creationId xmlns:a16="http://schemas.microsoft.com/office/drawing/2014/main" id="{B90EAA19-E7D3-4D64-A51C-CE8EF5A7EC38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090083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Gerader Verbinder 68">
                <a:extLst>
                  <a:ext uri="{FF2B5EF4-FFF2-40B4-BE49-F238E27FC236}">
                    <a16:creationId xmlns:a16="http://schemas.microsoft.com/office/drawing/2014/main" id="{D5B9C429-89B8-4D22-BDB2-1E30C013757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449917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Gerader Verbinder 69">
                <a:extLst>
                  <a:ext uri="{FF2B5EF4-FFF2-40B4-BE49-F238E27FC236}">
                    <a16:creationId xmlns:a16="http://schemas.microsoft.com/office/drawing/2014/main" id="{DCF866D0-EAB9-4039-8936-43A80A72A7F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824923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Gerader Verbinder 70">
                <a:extLst>
                  <a:ext uri="{FF2B5EF4-FFF2-40B4-BE49-F238E27FC236}">
                    <a16:creationId xmlns:a16="http://schemas.microsoft.com/office/drawing/2014/main" id="{FB8E70AA-6186-438A-9FEB-064E094809AB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968857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Gerader Verbinder 71">
                <a:extLst>
                  <a:ext uri="{FF2B5EF4-FFF2-40B4-BE49-F238E27FC236}">
                    <a16:creationId xmlns:a16="http://schemas.microsoft.com/office/drawing/2014/main" id="{64F5416F-E200-463B-9226-FE20CCB73E2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F7DE1E80-98CE-4F89-AB26-93226F1E5952}"/>
                </a:ext>
              </a:extLst>
            </p:cNvPr>
            <p:cNvGrpSpPr/>
            <p:nvPr userDrawn="1"/>
          </p:nvGrpSpPr>
          <p:grpSpPr bwMode="gray">
            <a:xfrm rot="5400000">
              <a:off x="6061869" y="-5674316"/>
              <a:ext cx="68263" cy="11090260"/>
              <a:chOff x="-93663" y="-4745022"/>
              <a:chExt cx="68263" cy="11090260"/>
            </a:xfrm>
          </p:grpSpPr>
          <p:cxnSp>
            <p:nvCxnSpPr>
              <p:cNvPr id="55" name="Gerader Verbinder 54">
                <a:extLst>
                  <a:ext uri="{FF2B5EF4-FFF2-40B4-BE49-F238E27FC236}">
                    <a16:creationId xmlns:a16="http://schemas.microsoft.com/office/drawing/2014/main" id="{2FE11A10-7EBE-47AA-85DE-1F49490AD603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533774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r Verbinder 55">
                <a:extLst>
                  <a:ext uri="{FF2B5EF4-FFF2-40B4-BE49-F238E27FC236}">
                    <a16:creationId xmlns:a16="http://schemas.microsoft.com/office/drawing/2014/main" id="{1F34DEB0-5589-4656-91DF-26A91024832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7770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r Verbinder 56">
                <a:extLst>
                  <a:ext uri="{FF2B5EF4-FFF2-40B4-BE49-F238E27FC236}">
                    <a16:creationId xmlns:a16="http://schemas.microsoft.com/office/drawing/2014/main" id="{D7CEB9A8-4BF5-4083-B02F-026648BF40C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r Verbinder 57">
                <a:extLst>
                  <a:ext uri="{FF2B5EF4-FFF2-40B4-BE49-F238E27FC236}">
                    <a16:creationId xmlns:a16="http://schemas.microsoft.com/office/drawing/2014/main" id="{E220438A-1761-434D-9071-F33A9405773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59714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r Verbinder 58">
                <a:extLst>
                  <a:ext uri="{FF2B5EF4-FFF2-40B4-BE49-F238E27FC236}">
                    <a16:creationId xmlns:a16="http://schemas.microsoft.com/office/drawing/2014/main" id="{3B45D209-1413-41A7-A1B7-37C393C73BD0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74108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r Verbinder 59">
                <a:extLst>
                  <a:ext uri="{FF2B5EF4-FFF2-40B4-BE49-F238E27FC236}">
                    <a16:creationId xmlns:a16="http://schemas.microsoft.com/office/drawing/2014/main" id="{73779B7D-47CF-43C3-8E2C-35EDA37D8E9B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72707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r Verbinder 60">
                <a:extLst>
                  <a:ext uri="{FF2B5EF4-FFF2-40B4-BE49-F238E27FC236}">
                    <a16:creationId xmlns:a16="http://schemas.microsoft.com/office/drawing/2014/main" id="{0F54F4A6-E11D-4A62-9FD1-B2DE83C0982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871006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r Verbinder 61">
                <a:extLst>
                  <a:ext uri="{FF2B5EF4-FFF2-40B4-BE49-F238E27FC236}">
                    <a16:creationId xmlns:a16="http://schemas.microsoft.com/office/drawing/2014/main" id="{2C14E678-38B0-4481-AD13-9107352C064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14406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r Verbinder 62">
                <a:extLst>
                  <a:ext uri="{FF2B5EF4-FFF2-40B4-BE49-F238E27FC236}">
                    <a16:creationId xmlns:a16="http://schemas.microsoft.com/office/drawing/2014/main" id="{75553F70-2E25-4371-914B-E81CED31B0AB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00011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r Verbinder 63">
                <a:extLst>
                  <a:ext uri="{FF2B5EF4-FFF2-40B4-BE49-F238E27FC236}">
                    <a16:creationId xmlns:a16="http://schemas.microsoft.com/office/drawing/2014/main" id="{170708ED-B0EF-4E3E-876A-8E7B8272516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2082275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Gerader Verbinder 64">
                <a:extLst>
                  <a:ext uri="{FF2B5EF4-FFF2-40B4-BE49-F238E27FC236}">
                    <a16:creationId xmlns:a16="http://schemas.microsoft.com/office/drawing/2014/main" id="{023F619F-3D6E-40AD-812E-A79E3726D9D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93833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Gerader Verbinder 65">
                <a:extLst>
                  <a:ext uri="{FF2B5EF4-FFF2-40B4-BE49-F238E27FC236}">
                    <a16:creationId xmlns:a16="http://schemas.microsoft.com/office/drawing/2014/main" id="{FB6E71A0-84F1-4D95-822A-C7F0588ADF7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474502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0D8DB276-3F58-4E1D-80A0-68A6B2CEB541}"/>
                </a:ext>
              </a:extLst>
            </p:cNvPr>
            <p:cNvGrpSpPr/>
            <p:nvPr userDrawn="1"/>
          </p:nvGrpSpPr>
          <p:grpSpPr bwMode="gray">
            <a:xfrm rot="5400000">
              <a:off x="6061870" y="1383629"/>
              <a:ext cx="68263" cy="11090260"/>
              <a:chOff x="-93663" y="-4745022"/>
              <a:chExt cx="68263" cy="11090260"/>
            </a:xfrm>
          </p:grpSpPr>
          <p:cxnSp>
            <p:nvCxnSpPr>
              <p:cNvPr id="43" name="Gerader Verbinder 42">
                <a:extLst>
                  <a:ext uri="{FF2B5EF4-FFF2-40B4-BE49-F238E27FC236}">
                    <a16:creationId xmlns:a16="http://schemas.microsoft.com/office/drawing/2014/main" id="{609692D6-7A3C-41A7-BE16-B2C4A8A5B088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533774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r Verbinder 43">
                <a:extLst>
                  <a:ext uri="{FF2B5EF4-FFF2-40B4-BE49-F238E27FC236}">
                    <a16:creationId xmlns:a16="http://schemas.microsoft.com/office/drawing/2014/main" id="{2A827B20-75A0-4638-976F-36BF04105F1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7770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r Verbinder 44">
                <a:extLst>
                  <a:ext uri="{FF2B5EF4-FFF2-40B4-BE49-F238E27FC236}">
                    <a16:creationId xmlns:a16="http://schemas.microsoft.com/office/drawing/2014/main" id="{C1D989FF-72AB-4BDF-AA3C-268FD6CD2F9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r Verbinder 45">
                <a:extLst>
                  <a:ext uri="{FF2B5EF4-FFF2-40B4-BE49-F238E27FC236}">
                    <a16:creationId xmlns:a16="http://schemas.microsoft.com/office/drawing/2014/main" id="{273A7EA9-C3F1-47F9-8F77-A1D86513384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59714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r Verbinder 46">
                <a:extLst>
                  <a:ext uri="{FF2B5EF4-FFF2-40B4-BE49-F238E27FC236}">
                    <a16:creationId xmlns:a16="http://schemas.microsoft.com/office/drawing/2014/main" id="{6782F21E-5A78-4443-AF02-25AB42A2328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74108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r Verbinder 47">
                <a:extLst>
                  <a:ext uri="{FF2B5EF4-FFF2-40B4-BE49-F238E27FC236}">
                    <a16:creationId xmlns:a16="http://schemas.microsoft.com/office/drawing/2014/main" id="{A3A6A6AF-C501-4FC3-A148-248458A48A3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72707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r Verbinder 48">
                <a:extLst>
                  <a:ext uri="{FF2B5EF4-FFF2-40B4-BE49-F238E27FC236}">
                    <a16:creationId xmlns:a16="http://schemas.microsoft.com/office/drawing/2014/main" id="{0AE0D609-F712-400A-AA97-5959C9A1044A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871006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r Verbinder 49">
                <a:extLst>
                  <a:ext uri="{FF2B5EF4-FFF2-40B4-BE49-F238E27FC236}">
                    <a16:creationId xmlns:a16="http://schemas.microsoft.com/office/drawing/2014/main" id="{E96CFA70-9E07-476D-ACE4-711DC1ABFA4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14406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r Verbinder 50">
                <a:extLst>
                  <a:ext uri="{FF2B5EF4-FFF2-40B4-BE49-F238E27FC236}">
                    <a16:creationId xmlns:a16="http://schemas.microsoft.com/office/drawing/2014/main" id="{275362B2-4F95-40CA-B9F2-309DC7D39F2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00011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r Verbinder 51">
                <a:extLst>
                  <a:ext uri="{FF2B5EF4-FFF2-40B4-BE49-F238E27FC236}">
                    <a16:creationId xmlns:a16="http://schemas.microsoft.com/office/drawing/2014/main" id="{BE0F38B1-5D62-40C3-93BB-0D5CBB229D4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2082275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r Verbinder 52">
                <a:extLst>
                  <a:ext uri="{FF2B5EF4-FFF2-40B4-BE49-F238E27FC236}">
                    <a16:creationId xmlns:a16="http://schemas.microsoft.com/office/drawing/2014/main" id="{0B50C20D-3619-4991-B79C-87A4E8D1AFC7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93833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r Verbinder 53">
                <a:extLst>
                  <a:ext uri="{FF2B5EF4-FFF2-40B4-BE49-F238E27FC236}">
                    <a16:creationId xmlns:a16="http://schemas.microsoft.com/office/drawing/2014/main" id="{490DDD01-440A-49F2-B1AA-EB9C2FC7E4E5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474502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80" name="Rectangle 30">
            <a:extLst>
              <a:ext uri="{FF2B5EF4-FFF2-40B4-BE49-F238E27FC236}">
                <a16:creationId xmlns:a16="http://schemas.microsoft.com/office/drawing/2014/main" id="{3A34CE00-6105-4C26-8776-51A41878B8EF}"/>
              </a:ext>
            </a:extLst>
          </p:cNvPr>
          <p:cNvSpPr/>
          <p:nvPr userDrawn="1"/>
        </p:nvSpPr>
        <p:spPr bwMode="ltGray">
          <a:xfrm>
            <a:off x="0" y="4796849"/>
            <a:ext cx="11641138" cy="2061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90CDAAF-A2CF-4F51-9A50-4103E1904180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557149" y="3605551"/>
            <a:ext cx="6546963" cy="2735092"/>
          </a:xfrm>
          <a:solidFill>
            <a:schemeClr val="bg1"/>
          </a:solidFill>
        </p:spPr>
        <p:txBody>
          <a:bodyPr vert="horz" wrap="square" lIns="648000" tIns="720000" rIns="648000" bIns="1440000" anchor="b">
            <a:spAutoFit/>
          </a:bodyPr>
          <a:lstStyle>
            <a:lvl1pPr algn="l" rtl="0">
              <a:defRPr sz="4000"/>
            </a:lvl1pPr>
          </a:lstStyle>
          <a:p>
            <a:r>
              <a:rPr lang="en-US" err="1"/>
              <a:t>Titel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C9FDCDF-56F9-4949-B92D-75EEC349EDA7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7149" y="5046485"/>
            <a:ext cx="6546963" cy="1294157"/>
          </a:xfrm>
        </p:spPr>
        <p:txBody>
          <a:bodyPr lIns="648000" tIns="216000" rIns="648000" b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pic>
        <p:nvPicPr>
          <p:cNvPr id="97" name="Grafik 96">
            <a:extLst>
              <a:ext uri="{FF2B5EF4-FFF2-40B4-BE49-F238E27FC236}">
                <a16:creationId xmlns:a16="http://schemas.microsoft.com/office/drawing/2014/main" id="{EAA753E3-1F1E-49C0-817D-90D32D15FC2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44272" y="5193198"/>
            <a:ext cx="2380666" cy="715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55847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8C73448-67BB-4374-B010-C26CD37404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7089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8C73448-67BB-4374-B010-C26CD3740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A4DA651-6936-48F3-ACBE-CFE0B97E9E2F}"/>
              </a:ext>
            </a:extLst>
          </p:cNvPr>
          <p:cNvGrpSpPr/>
          <p:nvPr userDrawn="1"/>
        </p:nvGrpSpPr>
        <p:grpSpPr bwMode="gray">
          <a:xfrm>
            <a:off x="-93663" y="-163318"/>
            <a:ext cx="12408868" cy="7126208"/>
            <a:chOff x="-93663" y="-163318"/>
            <a:chExt cx="12408868" cy="7126208"/>
          </a:xfrm>
        </p:grpSpPr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D96192A8-A102-49D8-BCBF-8621258C00B8}"/>
                </a:ext>
              </a:extLst>
            </p:cNvPr>
            <p:cNvGrpSpPr/>
            <p:nvPr userDrawn="1"/>
          </p:nvGrpSpPr>
          <p:grpSpPr bwMode="gray">
            <a:xfrm>
              <a:off x="-93663" y="368300"/>
              <a:ext cx="68263" cy="5976938"/>
              <a:chOff x="-93663" y="368300"/>
              <a:chExt cx="68263" cy="5976938"/>
            </a:xfrm>
          </p:grpSpPr>
          <p:cxnSp>
            <p:nvCxnSpPr>
              <p:cNvPr id="73" name="Gerader Verbinder 72">
                <a:extLst>
                  <a:ext uri="{FF2B5EF4-FFF2-40B4-BE49-F238E27FC236}">
                    <a16:creationId xmlns:a16="http://schemas.microsoft.com/office/drawing/2014/main" id="{F17FCB6E-4527-4B46-8E1A-F84E649C422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8300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Gerader Verbinder 73">
                <a:extLst>
                  <a:ext uri="{FF2B5EF4-FFF2-40B4-BE49-F238E27FC236}">
                    <a16:creationId xmlns:a16="http://schemas.microsoft.com/office/drawing/2014/main" id="{43D68C80-3DAE-4B0C-9A18-619570AF0B7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090083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r Verbinder 74">
                <a:extLst>
                  <a:ext uri="{FF2B5EF4-FFF2-40B4-BE49-F238E27FC236}">
                    <a16:creationId xmlns:a16="http://schemas.microsoft.com/office/drawing/2014/main" id="{76B8BA71-27F6-45EE-820B-B11866C9EC4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449917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r Verbinder 75">
                <a:extLst>
                  <a:ext uri="{FF2B5EF4-FFF2-40B4-BE49-F238E27FC236}">
                    <a16:creationId xmlns:a16="http://schemas.microsoft.com/office/drawing/2014/main" id="{1E974837-9103-4D9B-86FB-9718950F6EA0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82428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r Verbinder 76">
                <a:extLst>
                  <a:ext uri="{FF2B5EF4-FFF2-40B4-BE49-F238E27FC236}">
                    <a16:creationId xmlns:a16="http://schemas.microsoft.com/office/drawing/2014/main" id="{E47FC3FD-6259-42A2-B019-4D0710B3F503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96822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r Verbinder 77">
                <a:extLst>
                  <a:ext uri="{FF2B5EF4-FFF2-40B4-BE49-F238E27FC236}">
                    <a16:creationId xmlns:a16="http://schemas.microsoft.com/office/drawing/2014/main" id="{D4C42C3A-E695-4053-9548-853662932B5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2194DC05-0BBA-4CA4-9180-769934326A38}"/>
                </a:ext>
              </a:extLst>
            </p:cNvPr>
            <p:cNvGrpSpPr/>
            <p:nvPr userDrawn="1"/>
          </p:nvGrpSpPr>
          <p:grpSpPr bwMode="gray">
            <a:xfrm>
              <a:off x="12246942" y="368300"/>
              <a:ext cx="68263" cy="5976938"/>
              <a:chOff x="-93663" y="368300"/>
              <a:chExt cx="68263" cy="5976938"/>
            </a:xfrm>
          </p:grpSpPr>
          <p:cxnSp>
            <p:nvCxnSpPr>
              <p:cNvPr id="67" name="Gerader Verbinder 66">
                <a:extLst>
                  <a:ext uri="{FF2B5EF4-FFF2-40B4-BE49-F238E27FC236}">
                    <a16:creationId xmlns:a16="http://schemas.microsoft.com/office/drawing/2014/main" id="{F09AC357-41AD-49FA-BC7B-8FD106F44CA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8300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Gerader Verbinder 67">
                <a:extLst>
                  <a:ext uri="{FF2B5EF4-FFF2-40B4-BE49-F238E27FC236}">
                    <a16:creationId xmlns:a16="http://schemas.microsoft.com/office/drawing/2014/main" id="{B90EAA19-E7D3-4D64-A51C-CE8EF5A7EC38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090083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Gerader Verbinder 68">
                <a:extLst>
                  <a:ext uri="{FF2B5EF4-FFF2-40B4-BE49-F238E27FC236}">
                    <a16:creationId xmlns:a16="http://schemas.microsoft.com/office/drawing/2014/main" id="{D5B9C429-89B8-4D22-BDB2-1E30C013757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449917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Gerader Verbinder 69">
                <a:extLst>
                  <a:ext uri="{FF2B5EF4-FFF2-40B4-BE49-F238E27FC236}">
                    <a16:creationId xmlns:a16="http://schemas.microsoft.com/office/drawing/2014/main" id="{DCF866D0-EAB9-4039-8936-43A80A72A7F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824923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Gerader Verbinder 70">
                <a:extLst>
                  <a:ext uri="{FF2B5EF4-FFF2-40B4-BE49-F238E27FC236}">
                    <a16:creationId xmlns:a16="http://schemas.microsoft.com/office/drawing/2014/main" id="{FB8E70AA-6186-438A-9FEB-064E094809AB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968857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Gerader Verbinder 71">
                <a:extLst>
                  <a:ext uri="{FF2B5EF4-FFF2-40B4-BE49-F238E27FC236}">
                    <a16:creationId xmlns:a16="http://schemas.microsoft.com/office/drawing/2014/main" id="{64F5416F-E200-463B-9226-FE20CCB73E2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F7DE1E80-98CE-4F89-AB26-93226F1E5952}"/>
                </a:ext>
              </a:extLst>
            </p:cNvPr>
            <p:cNvGrpSpPr/>
            <p:nvPr userDrawn="1"/>
          </p:nvGrpSpPr>
          <p:grpSpPr bwMode="gray">
            <a:xfrm rot="5400000">
              <a:off x="6061869" y="-5674316"/>
              <a:ext cx="68263" cy="11090260"/>
              <a:chOff x="-93663" y="-4745022"/>
              <a:chExt cx="68263" cy="11090260"/>
            </a:xfrm>
          </p:grpSpPr>
          <p:cxnSp>
            <p:nvCxnSpPr>
              <p:cNvPr id="55" name="Gerader Verbinder 54">
                <a:extLst>
                  <a:ext uri="{FF2B5EF4-FFF2-40B4-BE49-F238E27FC236}">
                    <a16:creationId xmlns:a16="http://schemas.microsoft.com/office/drawing/2014/main" id="{2FE11A10-7EBE-47AA-85DE-1F49490AD603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533774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r Verbinder 55">
                <a:extLst>
                  <a:ext uri="{FF2B5EF4-FFF2-40B4-BE49-F238E27FC236}">
                    <a16:creationId xmlns:a16="http://schemas.microsoft.com/office/drawing/2014/main" id="{1F34DEB0-5589-4656-91DF-26A91024832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7770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r Verbinder 56">
                <a:extLst>
                  <a:ext uri="{FF2B5EF4-FFF2-40B4-BE49-F238E27FC236}">
                    <a16:creationId xmlns:a16="http://schemas.microsoft.com/office/drawing/2014/main" id="{D7CEB9A8-4BF5-4083-B02F-026648BF40C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r Verbinder 57">
                <a:extLst>
                  <a:ext uri="{FF2B5EF4-FFF2-40B4-BE49-F238E27FC236}">
                    <a16:creationId xmlns:a16="http://schemas.microsoft.com/office/drawing/2014/main" id="{E220438A-1761-434D-9071-F33A9405773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59714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r Verbinder 58">
                <a:extLst>
                  <a:ext uri="{FF2B5EF4-FFF2-40B4-BE49-F238E27FC236}">
                    <a16:creationId xmlns:a16="http://schemas.microsoft.com/office/drawing/2014/main" id="{3B45D209-1413-41A7-A1B7-37C393C73BD0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74108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r Verbinder 59">
                <a:extLst>
                  <a:ext uri="{FF2B5EF4-FFF2-40B4-BE49-F238E27FC236}">
                    <a16:creationId xmlns:a16="http://schemas.microsoft.com/office/drawing/2014/main" id="{73779B7D-47CF-43C3-8E2C-35EDA37D8E9B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72707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r Verbinder 60">
                <a:extLst>
                  <a:ext uri="{FF2B5EF4-FFF2-40B4-BE49-F238E27FC236}">
                    <a16:creationId xmlns:a16="http://schemas.microsoft.com/office/drawing/2014/main" id="{0F54F4A6-E11D-4A62-9FD1-B2DE83C0982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871006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r Verbinder 61">
                <a:extLst>
                  <a:ext uri="{FF2B5EF4-FFF2-40B4-BE49-F238E27FC236}">
                    <a16:creationId xmlns:a16="http://schemas.microsoft.com/office/drawing/2014/main" id="{2C14E678-38B0-4481-AD13-9107352C064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14406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r Verbinder 62">
                <a:extLst>
                  <a:ext uri="{FF2B5EF4-FFF2-40B4-BE49-F238E27FC236}">
                    <a16:creationId xmlns:a16="http://schemas.microsoft.com/office/drawing/2014/main" id="{75553F70-2E25-4371-914B-E81CED31B0AB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00011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r Verbinder 63">
                <a:extLst>
                  <a:ext uri="{FF2B5EF4-FFF2-40B4-BE49-F238E27FC236}">
                    <a16:creationId xmlns:a16="http://schemas.microsoft.com/office/drawing/2014/main" id="{170708ED-B0EF-4E3E-876A-8E7B8272516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2082275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Gerader Verbinder 64">
                <a:extLst>
                  <a:ext uri="{FF2B5EF4-FFF2-40B4-BE49-F238E27FC236}">
                    <a16:creationId xmlns:a16="http://schemas.microsoft.com/office/drawing/2014/main" id="{023F619F-3D6E-40AD-812E-A79E3726D9D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93833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Gerader Verbinder 65">
                <a:extLst>
                  <a:ext uri="{FF2B5EF4-FFF2-40B4-BE49-F238E27FC236}">
                    <a16:creationId xmlns:a16="http://schemas.microsoft.com/office/drawing/2014/main" id="{FB6E71A0-84F1-4D95-822A-C7F0588ADF7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474502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0D8DB276-3F58-4E1D-80A0-68A6B2CEB541}"/>
                </a:ext>
              </a:extLst>
            </p:cNvPr>
            <p:cNvGrpSpPr/>
            <p:nvPr userDrawn="1"/>
          </p:nvGrpSpPr>
          <p:grpSpPr bwMode="gray">
            <a:xfrm rot="5400000">
              <a:off x="6061870" y="1383629"/>
              <a:ext cx="68263" cy="11090260"/>
              <a:chOff x="-93663" y="-4745022"/>
              <a:chExt cx="68263" cy="11090260"/>
            </a:xfrm>
          </p:grpSpPr>
          <p:cxnSp>
            <p:nvCxnSpPr>
              <p:cNvPr id="43" name="Gerader Verbinder 42">
                <a:extLst>
                  <a:ext uri="{FF2B5EF4-FFF2-40B4-BE49-F238E27FC236}">
                    <a16:creationId xmlns:a16="http://schemas.microsoft.com/office/drawing/2014/main" id="{609692D6-7A3C-41A7-BE16-B2C4A8A5B088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533774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r Verbinder 43">
                <a:extLst>
                  <a:ext uri="{FF2B5EF4-FFF2-40B4-BE49-F238E27FC236}">
                    <a16:creationId xmlns:a16="http://schemas.microsoft.com/office/drawing/2014/main" id="{2A827B20-75A0-4638-976F-36BF04105F1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7770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r Verbinder 44">
                <a:extLst>
                  <a:ext uri="{FF2B5EF4-FFF2-40B4-BE49-F238E27FC236}">
                    <a16:creationId xmlns:a16="http://schemas.microsoft.com/office/drawing/2014/main" id="{C1D989FF-72AB-4BDF-AA3C-268FD6CD2F9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r Verbinder 45">
                <a:extLst>
                  <a:ext uri="{FF2B5EF4-FFF2-40B4-BE49-F238E27FC236}">
                    <a16:creationId xmlns:a16="http://schemas.microsoft.com/office/drawing/2014/main" id="{273A7EA9-C3F1-47F9-8F77-A1D86513384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59714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r Verbinder 46">
                <a:extLst>
                  <a:ext uri="{FF2B5EF4-FFF2-40B4-BE49-F238E27FC236}">
                    <a16:creationId xmlns:a16="http://schemas.microsoft.com/office/drawing/2014/main" id="{6782F21E-5A78-4443-AF02-25AB42A2328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74108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r Verbinder 47">
                <a:extLst>
                  <a:ext uri="{FF2B5EF4-FFF2-40B4-BE49-F238E27FC236}">
                    <a16:creationId xmlns:a16="http://schemas.microsoft.com/office/drawing/2014/main" id="{A3A6A6AF-C501-4FC3-A148-248458A48A3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72707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r Verbinder 48">
                <a:extLst>
                  <a:ext uri="{FF2B5EF4-FFF2-40B4-BE49-F238E27FC236}">
                    <a16:creationId xmlns:a16="http://schemas.microsoft.com/office/drawing/2014/main" id="{0AE0D609-F712-400A-AA97-5959C9A1044A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871006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r Verbinder 49">
                <a:extLst>
                  <a:ext uri="{FF2B5EF4-FFF2-40B4-BE49-F238E27FC236}">
                    <a16:creationId xmlns:a16="http://schemas.microsoft.com/office/drawing/2014/main" id="{E96CFA70-9E07-476D-ACE4-711DC1ABFA4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14406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r Verbinder 50">
                <a:extLst>
                  <a:ext uri="{FF2B5EF4-FFF2-40B4-BE49-F238E27FC236}">
                    <a16:creationId xmlns:a16="http://schemas.microsoft.com/office/drawing/2014/main" id="{275362B2-4F95-40CA-B9F2-309DC7D39F2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00011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r Verbinder 51">
                <a:extLst>
                  <a:ext uri="{FF2B5EF4-FFF2-40B4-BE49-F238E27FC236}">
                    <a16:creationId xmlns:a16="http://schemas.microsoft.com/office/drawing/2014/main" id="{BE0F38B1-5D62-40C3-93BB-0D5CBB229D4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2082275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r Verbinder 52">
                <a:extLst>
                  <a:ext uri="{FF2B5EF4-FFF2-40B4-BE49-F238E27FC236}">
                    <a16:creationId xmlns:a16="http://schemas.microsoft.com/office/drawing/2014/main" id="{0B50C20D-3619-4991-B79C-87A4E8D1AFC7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93833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r Verbinder 53">
                <a:extLst>
                  <a:ext uri="{FF2B5EF4-FFF2-40B4-BE49-F238E27FC236}">
                    <a16:creationId xmlns:a16="http://schemas.microsoft.com/office/drawing/2014/main" id="{490DDD01-440A-49F2-B1AA-EB9C2FC7E4E5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474502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9" name="Datumsplatzhalter 6">
            <a:extLst>
              <a:ext uri="{FF2B5EF4-FFF2-40B4-BE49-F238E27FC236}">
                <a16:creationId xmlns:a16="http://schemas.microsoft.com/office/drawing/2014/main" id="{C7AFCB59-6283-44BD-9164-82799DE40AC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0456331" y="6980755"/>
            <a:ext cx="769781" cy="175612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pPr algn="r"/>
            <a:fld id="{65F9ECCF-49D5-46D1-A756-A7C83800ED77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81" name="Fußzeilenplatzhalter 7">
            <a:extLst>
              <a:ext uri="{FF2B5EF4-FFF2-40B4-BE49-F238E27FC236}">
                <a16:creationId xmlns:a16="http://schemas.microsoft.com/office/drawing/2014/main" id="{B3EE8972-EC3D-4516-A2EB-2BB3ADE63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040170" y="6980755"/>
            <a:ext cx="2416161" cy="175612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82" name="Foliennummernplatzhalter 8">
            <a:extLst>
              <a:ext uri="{FF2B5EF4-FFF2-40B4-BE49-F238E27FC236}">
                <a16:creationId xmlns:a16="http://schemas.microsoft.com/office/drawing/2014/main" id="{81713394-8783-4BA1-A36D-E597048A8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226113" y="6980755"/>
            <a:ext cx="413414" cy="175612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3" name="Rectangle 30">
            <a:extLst>
              <a:ext uri="{FF2B5EF4-FFF2-40B4-BE49-F238E27FC236}">
                <a16:creationId xmlns:a16="http://schemas.microsoft.com/office/drawing/2014/main" id="{C2705D29-4E1E-4FAC-8BB1-DF8C16BB2231}"/>
              </a:ext>
            </a:extLst>
          </p:cNvPr>
          <p:cNvSpPr/>
          <p:nvPr userDrawn="1"/>
        </p:nvSpPr>
        <p:spPr bwMode="ltGray">
          <a:xfrm>
            <a:off x="0" y="4796849"/>
            <a:ext cx="11641138" cy="2061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84" name="Titel 1">
            <a:extLst>
              <a:ext uri="{FF2B5EF4-FFF2-40B4-BE49-F238E27FC236}">
                <a16:creationId xmlns:a16="http://schemas.microsoft.com/office/drawing/2014/main" id="{50A8842B-2501-47B5-8B24-1C62155C53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57149" y="3605551"/>
            <a:ext cx="6546963" cy="2735092"/>
          </a:xfrm>
          <a:solidFill>
            <a:schemeClr val="bg1"/>
          </a:solidFill>
        </p:spPr>
        <p:txBody>
          <a:bodyPr vert="horz" wrap="square" lIns="648000" tIns="720000" rIns="648000" bIns="1440000" anchor="b">
            <a:spAutoFit/>
          </a:bodyPr>
          <a:lstStyle>
            <a:lvl1pPr algn="l" rtl="0">
              <a:defRPr sz="4000"/>
            </a:lvl1pPr>
          </a:lstStyle>
          <a:p>
            <a:r>
              <a:rPr lang="en-US" err="1"/>
              <a:t>Titel</a:t>
            </a:r>
            <a:endParaRPr lang="en-US"/>
          </a:p>
        </p:txBody>
      </p:sp>
      <p:sp>
        <p:nvSpPr>
          <p:cNvPr id="85" name="Untertitel 2">
            <a:extLst>
              <a:ext uri="{FF2B5EF4-FFF2-40B4-BE49-F238E27FC236}">
                <a16:creationId xmlns:a16="http://schemas.microsoft.com/office/drawing/2014/main" id="{FDD5C585-502A-4E60-B938-EE468C2A355C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7149" y="5046485"/>
            <a:ext cx="6546963" cy="1294157"/>
          </a:xfrm>
        </p:spPr>
        <p:txBody>
          <a:bodyPr lIns="648000" tIns="216000" rIns="648000" b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038C893B-B139-4C43-BE5E-6BEB4CC5052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44272" y="5193198"/>
            <a:ext cx="2380666" cy="715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53097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FF2B5EF4-FFF2-40B4-BE49-F238E27FC236}">
                <a16:creationId xmlns:a16="http://schemas.microsoft.com/office/drawing/2014/main" id="{A2DD10C3-6EC6-4943-961C-F10D7265A8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240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18" name="Objekt 17" hidden="1">
                        <a:extLst>
                          <a:ext uri="{FF2B5EF4-FFF2-40B4-BE49-F238E27FC236}">
                            <a16:creationId xmlns:a16="http://schemas.microsoft.com/office/drawing/2014/main" id="{A2DD10C3-6EC6-4943-961C-F10D7265A8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7B0B74-6DFF-4DDB-B8F7-E1BD509AE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6056" y="0"/>
            <a:ext cx="4140200" cy="40680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Chapter</a:t>
            </a:r>
          </a:p>
        </p:txBody>
      </p:sp>
      <p:sp>
        <p:nvSpPr>
          <p:cNvPr id="5" name="Bildplatzhalter 9">
            <a:extLst>
              <a:ext uri="{FF2B5EF4-FFF2-40B4-BE49-F238E27FC236}">
                <a16:creationId xmlns:a16="http://schemas.microsoft.com/office/drawing/2014/main" id="{C34EEBF0-3A3A-4BC1-A062-856C4787F83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06801"/>
            <a:ext cx="6096000" cy="32127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7E9AF5-CCC7-4DDD-9970-FE12F9847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3619500"/>
            <a:ext cx="6096000" cy="3236911"/>
          </a:xfrm>
          <a:solidFill>
            <a:schemeClr val="accent3"/>
          </a:solidFill>
        </p:spPr>
        <p:txBody>
          <a:bodyPr vert="horz" lIns="1008000" tIns="72000" rIns="288000" anchor="ctr"/>
          <a:lstStyle>
            <a:lvl1pPr rtl="0">
              <a:defRPr sz="3600"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83C1A0C-3B53-4121-B7CB-6D1B5E052C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86599" y="2355850"/>
            <a:ext cx="241300" cy="241300"/>
          </a:xfrm>
          <a:solidFill>
            <a:schemeClr val="tx1"/>
          </a:solidFill>
        </p:spPr>
        <p:txBody>
          <a:bodyPr wrap="none" anchor="ctr"/>
          <a:lstStyle>
            <a:lvl1pPr marL="0" indent="0" algn="ctr" rtl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1A184885-A5BF-43D1-AF29-C53D2FAC46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435849" y="2355850"/>
            <a:ext cx="3736976" cy="241300"/>
          </a:xfrm>
        </p:spPr>
        <p:txBody>
          <a:bodyPr wrap="none" anchor="ctr"/>
          <a:lstStyle>
            <a:lvl1pPr marL="0" indent="0" algn="l" rtl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en-US"/>
              <a:t>Name des </a:t>
            </a:r>
            <a:r>
              <a:rPr lang="en-US" err="1"/>
              <a:t>Kapitels</a:t>
            </a:r>
            <a:endParaRPr lang="en-US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46927B71-DE65-4FDF-A5ED-351BA8C240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86599" y="2924175"/>
            <a:ext cx="241300" cy="241300"/>
          </a:xfrm>
          <a:solidFill>
            <a:schemeClr val="tx1"/>
          </a:solidFill>
        </p:spPr>
        <p:txBody>
          <a:bodyPr wrap="none" anchor="ctr"/>
          <a:lstStyle>
            <a:lvl1pPr marL="0" indent="0" algn="ctr" rtl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C66A422F-4C7C-413F-87C6-497CDAD1A6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35849" y="2924175"/>
            <a:ext cx="3736976" cy="241300"/>
          </a:xfrm>
        </p:spPr>
        <p:txBody>
          <a:bodyPr wrap="none" anchor="ctr"/>
          <a:lstStyle>
            <a:lvl1pPr marL="0" indent="0" algn="l" rtl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en-US"/>
              <a:t>Name des </a:t>
            </a:r>
            <a:r>
              <a:rPr lang="en-US" err="1"/>
              <a:t>Kapitels</a:t>
            </a:r>
            <a:endParaRPr lang="en-US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206E1C19-BA8B-41DC-ABDC-A0F6D6AFEB6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86599" y="3492500"/>
            <a:ext cx="241300" cy="241300"/>
          </a:xfrm>
          <a:solidFill>
            <a:schemeClr val="tx1"/>
          </a:solidFill>
        </p:spPr>
        <p:txBody>
          <a:bodyPr wrap="none" anchor="ctr"/>
          <a:lstStyle>
            <a:lvl1pPr marL="0" indent="0" algn="ctr" rtl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7F2FB019-8705-4E95-9BD8-59B89FCF773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5849" y="3492500"/>
            <a:ext cx="3736976" cy="241300"/>
          </a:xfrm>
        </p:spPr>
        <p:txBody>
          <a:bodyPr wrap="none" anchor="ctr"/>
          <a:lstStyle>
            <a:lvl1pPr marL="0" indent="0" algn="l" rtl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en-US"/>
              <a:t>Name des </a:t>
            </a:r>
            <a:r>
              <a:rPr lang="en-US" err="1"/>
              <a:t>Kapitels</a:t>
            </a:r>
            <a:endParaRPr lang="en-US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B7C9220-B307-4A21-87E7-9422A275DC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86599" y="4060825"/>
            <a:ext cx="241300" cy="241300"/>
          </a:xfrm>
          <a:solidFill>
            <a:schemeClr val="tx1"/>
          </a:solidFill>
        </p:spPr>
        <p:txBody>
          <a:bodyPr wrap="none" anchor="ctr"/>
          <a:lstStyle>
            <a:lvl1pPr marL="0" indent="0" algn="ctr" rtl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329E767F-AAA9-4770-8623-8BA3A23099C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35849" y="4060825"/>
            <a:ext cx="3736976" cy="241300"/>
          </a:xfrm>
        </p:spPr>
        <p:txBody>
          <a:bodyPr wrap="none" anchor="ctr"/>
          <a:lstStyle>
            <a:lvl1pPr marL="0" indent="0" algn="l" rtl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en-US"/>
              <a:t>Name des </a:t>
            </a:r>
            <a:r>
              <a:rPr lang="en-US" err="1"/>
              <a:t>Kapitels</a:t>
            </a:r>
            <a:endParaRPr lang="en-US"/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8F78219F-8AC8-41A7-9F52-BF35AFDE4E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86599" y="4629151"/>
            <a:ext cx="241300" cy="241300"/>
          </a:xfrm>
          <a:solidFill>
            <a:schemeClr val="tx1"/>
          </a:solidFill>
        </p:spPr>
        <p:txBody>
          <a:bodyPr wrap="none" anchor="ctr"/>
          <a:lstStyle>
            <a:lvl1pPr marL="0" indent="0" algn="ctr" rtl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3ABD3E1-4AF2-45BA-942D-6F49ED4152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435849" y="4629151"/>
            <a:ext cx="3736976" cy="241300"/>
          </a:xfrm>
        </p:spPr>
        <p:txBody>
          <a:bodyPr wrap="none" anchor="ctr"/>
          <a:lstStyle>
            <a:lvl1pPr marL="0" indent="0" algn="l" rtl="0">
              <a:lnSpc>
                <a:spcPct val="100000"/>
              </a:lnSpc>
              <a:buNone/>
              <a:defRPr sz="1600"/>
            </a:lvl1pPr>
          </a:lstStyle>
          <a:p>
            <a:pPr lvl="0"/>
            <a:r>
              <a:rPr lang="en-US"/>
              <a:t>Name des </a:t>
            </a:r>
            <a:r>
              <a:rPr lang="en-US" err="1"/>
              <a:t>Kapitels</a:t>
            </a:r>
            <a:endParaRPr lang="en-US"/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81EDFA11-269E-4866-B25D-D5BF1ED3E26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8626" y="95400"/>
            <a:ext cx="216000" cy="216000"/>
          </a:xfrm>
          <a:noFill/>
        </p:spPr>
        <p:txBody>
          <a:bodyPr vert="horz" lIns="0" tIns="0" rIns="0" bIns="0" rtlCol="0" anchor="ctr"/>
          <a:lstStyle>
            <a:lvl1pPr marL="0" indent="0" algn="l" rtl="0">
              <a:lnSpc>
                <a:spcPct val="100000"/>
              </a:lnSpc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algn="ctr"/>
            <a:r>
              <a:rPr lang="en-US"/>
              <a:t>Mastertextformat bearbeite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C80B96-0F17-4B47-86F6-050081578DBA}"/>
              </a:ext>
            </a:extLst>
          </p:cNvPr>
          <p:cNvSpPr/>
          <p:nvPr userDrawn="1"/>
        </p:nvSpPr>
        <p:spPr>
          <a:xfrm>
            <a:off x="11469915" y="6324599"/>
            <a:ext cx="449035" cy="187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l" rtl="0">
              <a:lnSpc>
                <a:spcPct val="12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9" name="Rectangle 15">
            <a:extLst>
              <a:ext uri="{FF2B5EF4-FFF2-40B4-BE49-F238E27FC236}">
                <a16:creationId xmlns:a16="http://schemas.microsoft.com/office/drawing/2014/main" id="{91ED8A28-5E28-40D1-B387-5B955D7D66C4}"/>
              </a:ext>
            </a:extLst>
          </p:cNvPr>
          <p:cNvSpPr/>
          <p:nvPr userDrawn="1"/>
        </p:nvSpPr>
        <p:spPr>
          <a:xfrm>
            <a:off x="706055" y="-695325"/>
            <a:ext cx="4618419" cy="525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Agenda layouts to be used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as main dividers in decks (change color to your liking)</a:t>
            </a:r>
          </a:p>
        </p:txBody>
      </p:sp>
    </p:spTree>
    <p:extLst>
      <p:ext uri="{BB962C8B-B14F-4D97-AF65-F5344CB8AC3E}">
        <p14:creationId xmlns:p14="http://schemas.microsoft.com/office/powerpoint/2010/main" val="10663359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0648F12-99DC-413B-A2B2-6ED5C003E7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2945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0648F12-99DC-413B-A2B2-6ED5C003E7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69C82FF-8DD9-43D2-A4A1-1BDAE82AD1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white">
          <a:xfrm>
            <a:off x="6167438" y="0"/>
            <a:ext cx="6024562" cy="6345238"/>
          </a:xfr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tile tx="0" ty="0" sx="66500" sy="66500" flip="none" algn="tr"/>
          </a:blipFill>
        </p:spPr>
        <p:txBody>
          <a:bodyPr lIns="576000" tIns="1440000" rIns="576000" bIns="360000"/>
          <a:lstStyle>
            <a:lvl1pPr marL="360000" indent="-360000" rtl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+mj-lt"/>
              <a:buAutoNum type="arabicPeriod"/>
              <a:defRPr sz="2000"/>
            </a:lvl1pPr>
            <a:lvl2pPr marL="648000" indent="-252000" rt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+mj-lt"/>
              <a:buAutoNum type="alphaLcPeriod"/>
              <a:defRPr sz="1600"/>
            </a:lvl2pPr>
            <a:lvl3pPr marL="648000" indent="-252000" rt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+mj-lt"/>
              <a:buAutoNum type="alphaLcPeriod"/>
              <a:defRPr sz="1600" b="0">
                <a:solidFill>
                  <a:schemeClr val="tx1"/>
                </a:solidFill>
              </a:defRPr>
            </a:lvl3pPr>
            <a:lvl4pPr marL="648000" indent="-252000" rt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+mj-lt"/>
              <a:buAutoNum type="alphaLcPeriod"/>
              <a:defRPr sz="1600" b="0">
                <a:solidFill>
                  <a:schemeClr val="tx1"/>
                </a:solidFill>
              </a:defRPr>
            </a:lvl4pPr>
            <a:lvl5pPr marL="648000" indent="-252000" rt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+mj-lt"/>
              <a:buAutoNum type="alphaLcPeriod"/>
              <a:defRPr sz="1600" b="0">
                <a:solidFill>
                  <a:schemeClr val="tx1"/>
                </a:solidFill>
              </a:defRPr>
            </a:lvl5pPr>
            <a:lvl6pPr marL="648000" indent="-25200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+mj-lt"/>
              <a:buAutoNum type="alphaLcPeriod"/>
              <a:defRPr sz="1600" b="0">
                <a:solidFill>
                  <a:schemeClr val="tx1"/>
                </a:solidFill>
              </a:defRPr>
            </a:lvl6pPr>
            <a:lvl7pPr marL="648000" indent="-25200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+mj-lt"/>
              <a:buAutoNum type="alphaLcPeriod"/>
              <a:defRPr sz="1600" b="0">
                <a:solidFill>
                  <a:schemeClr val="tx1"/>
                </a:solidFill>
              </a:defRPr>
            </a:lvl7pPr>
            <a:lvl8pPr marL="648000" indent="-25200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+mj-lt"/>
              <a:buAutoNum type="alphaLcPeriod"/>
              <a:defRPr sz="1600" b="0">
                <a:solidFill>
                  <a:schemeClr val="tx1"/>
                </a:solidFill>
              </a:defRPr>
            </a:lvl8pPr>
            <a:lvl9pPr marL="648000" indent="-25200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+mj-lt"/>
              <a:buAutoNum type="alphaLcPeriod"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88641D9-B660-4021-8156-3AEBB2CCE13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F448EC44-437D-4A9A-967B-53D6FDBE8923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56D6102-066F-48E9-A3CF-EB215244E74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7DB0568-C0C3-4D57-9CBF-9EA36EB77C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5EEFF527-3733-4153-98DB-C4C876E336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50865" y="1089026"/>
            <a:ext cx="5473698" cy="2735262"/>
          </a:xfrm>
        </p:spPr>
        <p:txBody>
          <a:bodyPr vert="horz" tIns="288000"/>
          <a:lstStyle>
            <a:lvl1pPr rtl="0">
              <a:defRPr sz="8000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6092792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F87C3CD-CD91-4C18-9E79-4F1014EA4B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926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F87C3CD-CD91-4C18-9E79-4F1014EA4B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4B16D86B-E105-463B-A364-C44DBF7E24E0}"/>
              </a:ext>
            </a:extLst>
          </p:cNvPr>
          <p:cNvSpPr/>
          <p:nvPr userDrawn="1"/>
        </p:nvSpPr>
        <p:spPr bwMode="white">
          <a:xfrm>
            <a:off x="108000" y="0"/>
            <a:ext cx="12084000" cy="63452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CA728D52-747C-4B37-AEAF-A45BAC7994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0865" y="1449388"/>
            <a:ext cx="2665410" cy="996631"/>
          </a:xfrm>
        </p:spPr>
        <p:txBody>
          <a:bodyPr wrap="none" bIns="7200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C2FF6C-B3CC-44A7-9983-800662977E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0864" y="2446019"/>
            <a:ext cx="8281986" cy="2063099"/>
          </a:xfrm>
        </p:spPr>
        <p:txBody>
          <a:bodyPr vert="horz" wrap="square" tIns="72000"/>
          <a:lstStyle>
            <a:lvl1pPr rtl="0">
              <a:defRPr sz="6000"/>
            </a:lvl1pPr>
          </a:lstStyle>
          <a:p>
            <a:r>
              <a:rPr lang="en-US" sz="6000" b="1" err="1">
                <a:solidFill>
                  <a:schemeClr val="tx1"/>
                </a:solidFill>
              </a:rPr>
              <a:t>Kapiteltrenner</a:t>
            </a:r>
            <a:br>
              <a:rPr lang="en-US" sz="6000" b="1">
                <a:solidFill>
                  <a:schemeClr val="tx1"/>
                </a:solidFill>
              </a:rPr>
            </a:br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69C82FF-8DD9-43D2-A4A1-1BDAE82AD1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50864" y="4509120"/>
            <a:ext cx="8281986" cy="183611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88641D9-B660-4021-8156-3AEBB2CCE13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75B63BF2-6FA3-44A7-9143-70CF25704233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56D6102-066F-48E9-A3CF-EB215244E74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7DB0568-C0C3-4D57-9CBF-9EA36EB77C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9B5AAF98-604F-4DC4-85DF-D52E19F7E87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20413" y="346346"/>
            <a:ext cx="1258812" cy="378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01337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 layou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F40E168-FD4C-48AF-BD9C-D110BEA94C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0797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F40E168-FD4C-48AF-BD9C-D110BEA94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FB0F9B2-BD28-41F1-BEC0-66FECAD1B1D7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2CB513A8-0F2C-484B-B880-02FB55AA80AE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84F7FAD-1C99-496B-B3DC-1D99398C8D6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3A3C667-61DE-40A2-BF02-EF86775753F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1A09E5E0-494A-4962-B4E1-3E426403244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67438" y="1449388"/>
            <a:ext cx="5473700" cy="489585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12EF8F8B-A136-44C2-B169-25BEE00A8C2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0865" y="1449388"/>
            <a:ext cx="2665410" cy="996631"/>
          </a:xfrm>
        </p:spPr>
        <p:txBody>
          <a:bodyPr wrap="none" bIns="7200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NR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AC19E3E8-0F1B-4BE4-9B6D-4DCFEF9300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0864" y="2446019"/>
            <a:ext cx="5473699" cy="2063099"/>
          </a:xfrm>
        </p:spPr>
        <p:txBody>
          <a:bodyPr vert="horz" wrap="square" tIns="72000"/>
          <a:lstStyle>
            <a:lvl1pPr rtl="0">
              <a:defRPr sz="6000"/>
            </a:lvl1pPr>
          </a:lstStyle>
          <a:p>
            <a:r>
              <a:rPr lang="en-US" sz="6000" b="1" err="1">
                <a:solidFill>
                  <a:schemeClr val="tx1"/>
                </a:solidFill>
              </a:rPr>
              <a:t>Kapiteltrenner</a:t>
            </a:r>
            <a:br>
              <a:rPr lang="en-US" sz="6000" b="1">
                <a:solidFill>
                  <a:schemeClr val="tx1"/>
                </a:solidFill>
              </a:rPr>
            </a:br>
            <a:endParaRPr lang="en-US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0BE1B568-8C3F-456C-9556-AFBB0AB241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550864" y="4509120"/>
            <a:ext cx="5473699" cy="183611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</p:spTree>
    <p:extLst>
      <p:ext uri="{BB962C8B-B14F-4D97-AF65-F5344CB8AC3E}">
        <p14:creationId xmlns:p14="http://schemas.microsoft.com/office/powerpoint/2010/main" val="3660713936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DEEFF40-A699-4D25-B41B-E1153E804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900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DEEFF40-A699-4D25-B41B-E1153E804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Untertitel 2">
            <a:extLst>
              <a:ext uri="{FF2B5EF4-FFF2-40B4-BE49-F238E27FC236}">
                <a16:creationId xmlns:a16="http://schemas.microsoft.com/office/drawing/2014/main" id="{CA728D52-747C-4B37-AEAF-A45BAC7994FA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C2FF6C-B3CC-44A7-9983-800662977EF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5" y="368300"/>
            <a:ext cx="7345360" cy="39211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88641D9-B660-4021-8156-3AEBB2CCE13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3C7B7AB9-BB9D-4B8D-B2CF-47395E10D0EE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56D6102-066F-48E9-A3CF-EB215244E74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7DB0568-C0C3-4D57-9CBF-9EA36EB77C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755075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-line headlin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1F43471-03F4-44C1-B4E9-DFE8FE49BA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8139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1F43471-03F4-44C1-B4E9-DFE8FE49BA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EC2FF6C-B3CC-44A7-9983-800662977EF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5" y="368300"/>
            <a:ext cx="7345360" cy="39211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69C82FF-8DD9-43D2-A4A1-1BDAE82AD1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50863" y="1916832"/>
            <a:ext cx="11088663" cy="44284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88641D9-B660-4021-8156-3AEBB2CCE13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3C7B7AB9-BB9D-4B8D-B2CF-47395E10D0EE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56D6102-066F-48E9-A3CF-EB215244E74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7DB0568-C0C3-4D57-9CBF-9EA36EB77C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41B2ECA1-0268-4E57-9A92-D517B3FAAA9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1DA7B549-736E-456A-8462-6C4BF53304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50863" y="1449388"/>
            <a:ext cx="11088663" cy="467444"/>
          </a:xfrm>
        </p:spPr>
        <p:txBody>
          <a:bodyPr/>
          <a:lstStyle>
            <a:lvl1pPr marL="0" indent="0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Übersch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61529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1536D69-082E-44A3-9033-5528BE6D9F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3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1536D69-082E-44A3-9033-5528BE6D9F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EC2FF6C-B3CC-44A7-9983-800662977EF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5" y="368301"/>
            <a:ext cx="7345360" cy="3921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69C82FF-8DD9-43D2-A4A1-1BDAE82AD1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50864" y="1916832"/>
            <a:ext cx="5473699" cy="44284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88641D9-B660-4021-8156-3AEBB2CCE13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FB8735B1-B602-440F-BAFD-54FDEA18C6FD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56D6102-066F-48E9-A3CF-EB215244E74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7DB0568-C0C3-4D57-9CBF-9EA36EB77C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499A5225-1533-448D-84F3-B57E2E5A0D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165828" y="1916832"/>
            <a:ext cx="5473699" cy="44284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7623528B-0329-455F-9FCE-25E0B28F5266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58902B80-683E-4191-BFE6-EBB2888658C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50864" y="1449388"/>
            <a:ext cx="5473700" cy="467444"/>
          </a:xfrm>
        </p:spPr>
        <p:txBody>
          <a:bodyPr/>
          <a:lstStyle>
            <a:lvl1pPr marL="0" indent="0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Überschrift</a:t>
            </a:r>
            <a:endParaRPr lang="en-US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6E0E2928-CC03-497E-AE41-120F2F690C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165828" y="1449388"/>
            <a:ext cx="5473700" cy="467444"/>
          </a:xfrm>
        </p:spPr>
        <p:txBody>
          <a:bodyPr/>
          <a:lstStyle>
            <a:lvl1pPr marL="0" indent="0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Übersch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65440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7073B93-49DF-4478-867C-3EA92F2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512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7073B93-49DF-4478-867C-3EA92F2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EC2FF6C-B3CC-44A7-9983-800662977EF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5" y="368301"/>
            <a:ext cx="7345360" cy="39211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69C82FF-8DD9-43D2-A4A1-1BDAE82AD1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50864" y="1916832"/>
            <a:ext cx="3600449" cy="44284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88641D9-B660-4021-8156-3AEBB2CCE13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03D048AA-6468-4E9C-9AF8-B0D72CBC2D23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56D6102-066F-48E9-A3CF-EB215244E74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7DB0568-C0C3-4D57-9CBF-9EA36EB77C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499A5225-1533-448D-84F3-B57E2E5A0D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295776" y="1916832"/>
            <a:ext cx="3600449" cy="44284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75B815F5-B863-4250-A96C-552EFBB910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8046948" y="1916832"/>
            <a:ext cx="3600449" cy="44284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55B17BA4-18AB-46B4-8825-5463EEB7B86D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B18796B2-B995-466E-93CF-3F0C0566B7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50864" y="1449388"/>
            <a:ext cx="3600449" cy="467444"/>
          </a:xfrm>
        </p:spPr>
        <p:txBody>
          <a:bodyPr/>
          <a:lstStyle>
            <a:lvl1pPr marL="0" indent="0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Überschrift</a:t>
            </a:r>
            <a:endParaRPr lang="en-US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52B71C23-B2B8-4317-BD98-3D7C25FFF1B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295776" y="1449388"/>
            <a:ext cx="3600449" cy="467444"/>
          </a:xfrm>
        </p:spPr>
        <p:txBody>
          <a:bodyPr/>
          <a:lstStyle>
            <a:lvl1pPr marL="0" indent="0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Überschrift</a:t>
            </a:r>
            <a:endParaRPr lang="en-US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6996964A-CB4B-48BC-8451-1D7112EEC4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046948" y="1449388"/>
            <a:ext cx="3600449" cy="467444"/>
          </a:xfrm>
        </p:spPr>
        <p:txBody>
          <a:bodyPr/>
          <a:lstStyle>
            <a:lvl1pPr marL="0" indent="0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Übersch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86658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884BC2D-D6DB-4790-8C22-B4989FB1CA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000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884BC2D-D6DB-4790-8C22-B4989FB1CA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070DA7B-83AF-4823-B8FA-263431C7B12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4" y="368301"/>
            <a:ext cx="7345362" cy="39211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B1F6F38-3F66-4D8A-8D78-5453C060F1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8040688" y="1449388"/>
            <a:ext cx="3600450" cy="489585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255800C-E5B1-48FF-A39B-36B9AEC9D4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50863" y="1449388"/>
            <a:ext cx="7345362" cy="48958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CDBFD36-893B-4F5D-B769-251F8EB27134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A4760E39-B92A-40BF-A06E-943270717369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26D8261-31E1-49E9-A5DF-FA184DFFC6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A402B41B-C536-4D0B-91C1-7091FAFEF8D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FB29B07-23D6-4942-BDDB-DFD3AD5E5949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57194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layout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F01DE29-CECE-41C5-A578-7DAA76985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4559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F01DE29-CECE-41C5-A578-7DAA76985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070DA7B-83AF-4823-B8FA-263431C7B12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4" y="368301"/>
            <a:ext cx="7345362" cy="39211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255800C-E5B1-48FF-A39B-36B9AEC9D4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50863" y="1449388"/>
            <a:ext cx="5473700" cy="48958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FB0F9B2-BD28-41F1-BEC0-66FECAD1B1D7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AD2CB664-D8D4-4CB9-B9F7-130CE46D5CEE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84F7FAD-1C99-496B-B3DC-1D99398C8D6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3A3C667-61DE-40A2-BF02-EF86775753F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1A09E5E0-494A-4962-B4E1-3E426403244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67438" y="1449388"/>
            <a:ext cx="5473700" cy="489585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br>
              <a:rPr lang="en-US"/>
            </a:b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</a:t>
            </a:r>
            <a:br>
              <a:rPr lang="en-US"/>
            </a:br>
            <a:r>
              <a:rPr lang="en-US"/>
              <a:t>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F6011393-4D83-4DD0-92A0-B22C9CA149CE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4634396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layou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3472447-DCBA-4D01-B9A6-3B4862E12E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6877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3472447-DCBA-4D01-B9A6-3B4862E12E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070DA7B-83AF-4823-B8FA-263431C7B12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4" y="368301"/>
            <a:ext cx="7345362" cy="3921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255800C-E5B1-48FF-A39B-36B9AEC9D4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50863" y="1449388"/>
            <a:ext cx="3600450" cy="48958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13D417D-90BA-4E17-A45B-0F43C1E9315C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70544F46-902A-4F33-BC35-14002B6593B5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87D14A35-54E8-4E88-B02B-1A21EE1E493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4C6BA6EE-F923-437A-90C9-B7E279A7E71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0FED75A-107A-4BA2-A166-C1760D53672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295775" y="1449388"/>
            <a:ext cx="7345363" cy="489585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br>
              <a:rPr lang="en-US"/>
            </a:b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</a:t>
            </a:r>
            <a:br>
              <a:rPr lang="en-US"/>
            </a:br>
            <a:r>
              <a:rPr lang="en-US"/>
              <a:t>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037924A-FEC7-49C0-9172-02344E3E1F72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15733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F2DCB94-8932-4B44-A473-A77BF1D55F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2642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F2DCB94-8932-4B44-A473-A77BF1D55F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>
            <a:extLst>
              <a:ext uri="{FF2B5EF4-FFF2-40B4-BE49-F238E27FC236}">
                <a16:creationId xmlns:a16="http://schemas.microsoft.com/office/drawing/2014/main" id="{4C8EBBA1-C346-4A45-9CA1-2DC73348D413}"/>
              </a:ext>
            </a:extLst>
          </p:cNvPr>
          <p:cNvSpPr/>
          <p:nvPr userDrawn="1"/>
        </p:nvSpPr>
        <p:spPr>
          <a:xfrm>
            <a:off x="3048000" y="406800"/>
            <a:ext cx="9144000" cy="320968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D138D499-48FB-4176-BB13-E50A098356A8}"/>
              </a:ext>
            </a:extLst>
          </p:cNvPr>
          <p:cNvSpPr/>
          <p:nvPr userDrawn="1"/>
        </p:nvSpPr>
        <p:spPr>
          <a:xfrm>
            <a:off x="-15241" y="406800"/>
            <a:ext cx="3063241" cy="320968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7B0B74-6DFF-4DDB-B8F7-E1BD509AE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6056" y="0"/>
            <a:ext cx="4140200" cy="40680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Chap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7E9AF5-CCC7-4DDD-9970-FE12F9847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302126"/>
            <a:ext cx="6024562" cy="1871660"/>
          </a:xfrm>
          <a:noFill/>
        </p:spPr>
        <p:txBody>
          <a:bodyPr vert="horz" lIns="1008000" tIns="72000" rIns="288000" anchor="ctr"/>
          <a:lstStyle>
            <a:lvl1pPr rtl="0">
              <a:defRPr sz="3600"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47549E8A-0593-4BFF-8229-5F517E43D720}"/>
              </a:ext>
            </a:extLst>
          </p:cNvPr>
          <p:cNvSpPr/>
          <p:nvPr/>
        </p:nvSpPr>
        <p:spPr>
          <a:xfrm>
            <a:off x="6395918" y="471526"/>
            <a:ext cx="5440685" cy="3144958"/>
          </a:xfrm>
          <a:custGeom>
            <a:avLst/>
            <a:gdLst>
              <a:gd name="connsiteX0" fmla="*/ 2967970 w 5440685"/>
              <a:gd name="connsiteY0" fmla="*/ 458098 h 3144958"/>
              <a:gd name="connsiteX1" fmla="*/ 458086 w 5440685"/>
              <a:gd name="connsiteY1" fmla="*/ 585803 h 3144958"/>
              <a:gd name="connsiteX2" fmla="*/ 585802 w 5440685"/>
              <a:gd name="connsiteY2" fmla="*/ 3095686 h 3144958"/>
              <a:gd name="connsiteX3" fmla="*/ 591174 w 5440685"/>
              <a:gd name="connsiteY3" fmla="*/ 3100524 h 3144958"/>
              <a:gd name="connsiteX4" fmla="*/ 629898 w 5440685"/>
              <a:gd name="connsiteY4" fmla="*/ 3140138 h 3144958"/>
              <a:gd name="connsiteX5" fmla="*/ 625544 w 5440685"/>
              <a:gd name="connsiteY5" fmla="*/ 3144785 h 3144958"/>
              <a:gd name="connsiteX6" fmla="*/ 1429754 w 5440685"/>
              <a:gd name="connsiteY6" fmla="*/ 3144785 h 3144958"/>
              <a:gd name="connsiteX7" fmla="*/ 1434133 w 5440685"/>
              <a:gd name="connsiteY7" fmla="*/ 3140558 h 3144958"/>
              <a:gd name="connsiteX8" fmla="*/ 962715 w 5440685"/>
              <a:gd name="connsiteY8" fmla="*/ 2685893 h 3144958"/>
              <a:gd name="connsiteX9" fmla="*/ 867968 w 5440685"/>
              <a:gd name="connsiteY9" fmla="*/ 962715 h 3144958"/>
              <a:gd name="connsiteX10" fmla="*/ 2591146 w 5440685"/>
              <a:gd name="connsiteY10" fmla="*/ 867968 h 3144958"/>
              <a:gd name="connsiteX11" fmla="*/ 2594888 w 5440685"/>
              <a:gd name="connsiteY11" fmla="*/ 871342 h 3144958"/>
              <a:gd name="connsiteX12" fmla="*/ 5059594 w 5440685"/>
              <a:gd name="connsiteY12" fmla="*/ 3144339 h 3144958"/>
              <a:gd name="connsiteX13" fmla="*/ 5440505 w 5440685"/>
              <a:gd name="connsiteY13" fmla="*/ 2744398 h 3144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440685" h="3144958">
                <a:moveTo>
                  <a:pt x="2967970" y="458098"/>
                </a:moveTo>
                <a:cubicBezTo>
                  <a:pt x="2239616" y="-199720"/>
                  <a:pt x="1115904" y="-142551"/>
                  <a:pt x="458086" y="585803"/>
                </a:cubicBezTo>
                <a:cubicBezTo>
                  <a:pt x="-199733" y="1314156"/>
                  <a:pt x="-142551" y="2437868"/>
                  <a:pt x="585802" y="3095686"/>
                </a:cubicBezTo>
                <a:cubicBezTo>
                  <a:pt x="587585" y="3097303"/>
                  <a:pt x="589380" y="3098907"/>
                  <a:pt x="591174" y="3100524"/>
                </a:cubicBezTo>
                <a:lnTo>
                  <a:pt x="629898" y="3140138"/>
                </a:lnTo>
                <a:lnTo>
                  <a:pt x="625544" y="3144785"/>
                </a:lnTo>
                <a:lnTo>
                  <a:pt x="1429754" y="3144785"/>
                </a:lnTo>
                <a:lnTo>
                  <a:pt x="1434133" y="3140558"/>
                </a:lnTo>
                <a:lnTo>
                  <a:pt x="962715" y="2685893"/>
                </a:lnTo>
                <a:cubicBezTo>
                  <a:pt x="460708" y="2236204"/>
                  <a:pt x="418293" y="1464722"/>
                  <a:pt x="867968" y="962715"/>
                </a:cubicBezTo>
                <a:cubicBezTo>
                  <a:pt x="1317644" y="460708"/>
                  <a:pt x="2089139" y="418293"/>
                  <a:pt x="2591146" y="867968"/>
                </a:cubicBezTo>
                <a:cubicBezTo>
                  <a:pt x="2592393" y="869089"/>
                  <a:pt x="2593641" y="870209"/>
                  <a:pt x="2594888" y="871342"/>
                </a:cubicBezTo>
                <a:lnTo>
                  <a:pt x="5059594" y="3144339"/>
                </a:lnTo>
                <a:lnTo>
                  <a:pt x="5440505" y="2744398"/>
                </a:lnTo>
                <a:close/>
              </a:path>
            </a:pathLst>
          </a:custGeom>
          <a:solidFill>
            <a:schemeClr val="accent4"/>
          </a:solidFill>
          <a:ln w="12707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/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37071491-542B-46EB-9C69-2FFB33EE306F}"/>
              </a:ext>
            </a:extLst>
          </p:cNvPr>
          <p:cNvSpPr/>
          <p:nvPr/>
        </p:nvSpPr>
        <p:spPr>
          <a:xfrm>
            <a:off x="6395424" y="3616484"/>
            <a:ext cx="4191825" cy="3141581"/>
          </a:xfrm>
          <a:custGeom>
            <a:avLst/>
            <a:gdLst>
              <a:gd name="connsiteX0" fmla="*/ 2595382 w 4191825"/>
              <a:gd name="connsiteY0" fmla="*/ 2269450 h 3141581"/>
              <a:gd name="connsiteX1" fmla="*/ 871836 w 4191825"/>
              <a:gd name="connsiteY1" fmla="*/ 2181857 h 3141581"/>
              <a:gd name="connsiteX2" fmla="*/ 959429 w 4191825"/>
              <a:gd name="connsiteY2" fmla="*/ 458311 h 3141581"/>
              <a:gd name="connsiteX3" fmla="*/ 963209 w 4191825"/>
              <a:gd name="connsiteY3" fmla="*/ 454899 h 3141581"/>
              <a:gd name="connsiteX4" fmla="*/ 1434194 w 4191825"/>
              <a:gd name="connsiteY4" fmla="*/ -174 h 3141581"/>
              <a:gd name="connsiteX5" fmla="*/ 629603 w 4191825"/>
              <a:gd name="connsiteY5" fmla="*/ -174 h 3141581"/>
              <a:gd name="connsiteX6" fmla="*/ 591668 w 4191825"/>
              <a:gd name="connsiteY6" fmla="*/ 40268 h 3141581"/>
              <a:gd name="connsiteX7" fmla="*/ 452813 w 4191825"/>
              <a:gd name="connsiteY7" fmla="*/ 2549553 h 3141581"/>
              <a:gd name="connsiteX8" fmla="*/ 2962099 w 4191825"/>
              <a:gd name="connsiteY8" fmla="*/ 2688409 h 3141581"/>
              <a:gd name="connsiteX9" fmla="*/ 2968463 w 4191825"/>
              <a:gd name="connsiteY9" fmla="*/ 2682693 h 3141581"/>
              <a:gd name="connsiteX10" fmla="*/ 4191645 w 4191825"/>
              <a:gd name="connsiteY10" fmla="*/ 1552070 h 3141581"/>
              <a:gd name="connsiteX11" fmla="*/ 3797458 w 4191825"/>
              <a:gd name="connsiteY11" fmla="*/ 1157869 h 3141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191825" h="3141581">
                <a:moveTo>
                  <a:pt x="2595382" y="2269450"/>
                </a:moveTo>
                <a:cubicBezTo>
                  <a:pt x="2095246" y="2721213"/>
                  <a:pt x="1323586" y="2681993"/>
                  <a:pt x="871836" y="2181857"/>
                </a:cubicBezTo>
                <a:cubicBezTo>
                  <a:pt x="420072" y="1681721"/>
                  <a:pt x="459292" y="910061"/>
                  <a:pt x="959429" y="458311"/>
                </a:cubicBezTo>
                <a:cubicBezTo>
                  <a:pt x="960689" y="457165"/>
                  <a:pt x="961949" y="456032"/>
                  <a:pt x="963209" y="454899"/>
                </a:cubicBezTo>
                <a:lnTo>
                  <a:pt x="1434194" y="-174"/>
                </a:lnTo>
                <a:lnTo>
                  <a:pt x="629603" y="-174"/>
                </a:lnTo>
                <a:lnTo>
                  <a:pt x="591668" y="40268"/>
                </a:lnTo>
                <a:cubicBezTo>
                  <a:pt x="-139600" y="694853"/>
                  <a:pt x="-201759" y="1818298"/>
                  <a:pt x="452813" y="2549553"/>
                </a:cubicBezTo>
                <a:cubicBezTo>
                  <a:pt x="1107398" y="3280822"/>
                  <a:pt x="2230843" y="3342994"/>
                  <a:pt x="2962099" y="2688409"/>
                </a:cubicBezTo>
                <a:cubicBezTo>
                  <a:pt x="2964224" y="2686512"/>
                  <a:pt x="2966350" y="2684602"/>
                  <a:pt x="2968463" y="2682693"/>
                </a:cubicBezTo>
                <a:lnTo>
                  <a:pt x="4191645" y="1552070"/>
                </a:lnTo>
                <a:lnTo>
                  <a:pt x="3797458" y="1157869"/>
                </a:lnTo>
                <a:close/>
              </a:path>
            </a:pathLst>
          </a:custGeom>
          <a:solidFill>
            <a:schemeClr val="accent5"/>
          </a:solidFill>
          <a:ln w="12707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/>
          </a:p>
        </p:txBody>
      </p:sp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A7C50BDA-43D0-4CD6-808E-854FB8AA805C}"/>
              </a:ext>
            </a:extLst>
          </p:cNvPr>
          <p:cNvSpPr/>
          <p:nvPr/>
        </p:nvSpPr>
        <p:spPr>
          <a:xfrm>
            <a:off x="11452052" y="3616484"/>
            <a:ext cx="6848" cy="3360"/>
          </a:xfrm>
          <a:custGeom>
            <a:avLst/>
            <a:gdLst>
              <a:gd name="connsiteX0" fmla="*/ 0 w 6848"/>
              <a:gd name="connsiteY0" fmla="*/ 0 h 3360"/>
              <a:gd name="connsiteX1" fmla="*/ 3641 w 6848"/>
              <a:gd name="connsiteY1" fmla="*/ 3361 h 3360"/>
              <a:gd name="connsiteX2" fmla="*/ 6849 w 6848"/>
              <a:gd name="connsiteY2" fmla="*/ 0 h 3360"/>
              <a:gd name="connsiteX3" fmla="*/ 0 w 6848"/>
              <a:gd name="connsiteY3" fmla="*/ 0 h 3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48" h="3360">
                <a:moveTo>
                  <a:pt x="0" y="0"/>
                </a:moveTo>
                <a:lnTo>
                  <a:pt x="3641" y="3361"/>
                </a:lnTo>
                <a:lnTo>
                  <a:pt x="684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8C41"/>
          </a:solidFill>
          <a:ln w="12707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/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8032A72-306B-42FD-A5EB-FA76F52979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8626" y="95400"/>
            <a:ext cx="216000" cy="216000"/>
          </a:xfrm>
          <a:noFill/>
        </p:spPr>
        <p:txBody>
          <a:bodyPr vert="horz" lIns="0" tIns="0" rIns="0" bIns="0" rtlCol="0" anchor="ctr"/>
          <a:lstStyle>
            <a:lvl1pPr marL="0" indent="0" algn="l" rtl="0">
              <a:lnSpc>
                <a:spcPct val="100000"/>
              </a:lnSpc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algn="ctr"/>
            <a:r>
              <a:rPr lang="en-US"/>
              <a:t>Mastertextformat bearbeite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E9733DE-1E7C-44F8-8169-E6CFFC6388AC}"/>
              </a:ext>
            </a:extLst>
          </p:cNvPr>
          <p:cNvSpPr/>
          <p:nvPr userDrawn="1"/>
        </p:nvSpPr>
        <p:spPr>
          <a:xfrm>
            <a:off x="11469915" y="6324599"/>
            <a:ext cx="449035" cy="187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l" rtl="0">
              <a:lnSpc>
                <a:spcPct val="12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3" name="Rectangle 15">
            <a:extLst>
              <a:ext uri="{FF2B5EF4-FFF2-40B4-BE49-F238E27FC236}">
                <a16:creationId xmlns:a16="http://schemas.microsoft.com/office/drawing/2014/main" id="{C7A3E2B3-BF95-4BD7-97B8-E778D29C34B9}"/>
              </a:ext>
            </a:extLst>
          </p:cNvPr>
          <p:cNvSpPr/>
          <p:nvPr userDrawn="1"/>
        </p:nvSpPr>
        <p:spPr>
          <a:xfrm>
            <a:off x="706056" y="-695325"/>
            <a:ext cx="2540900" cy="525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Alternative dividers</a:t>
            </a:r>
          </a:p>
        </p:txBody>
      </p:sp>
    </p:spTree>
    <p:extLst>
      <p:ext uri="{BB962C8B-B14F-4D97-AF65-F5344CB8AC3E}">
        <p14:creationId xmlns:p14="http://schemas.microsoft.com/office/powerpoint/2010/main" val="37861440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and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0A23B3C-2B06-4901-B323-29E0FCBEE1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1487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0A23B3C-2B06-4901-B323-29E0FCBEE1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070DA7B-83AF-4823-B8FA-263431C7B12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4" y="368300"/>
            <a:ext cx="7345362" cy="3921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255800C-E5B1-48FF-A39B-36B9AEC9D4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50862" y="3970337"/>
            <a:ext cx="5473699" cy="23749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F3F1FA3F-24AB-41DA-B1E6-0CB9E620D8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167437" y="3970337"/>
            <a:ext cx="5473699" cy="23749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5E1658D-DEE9-457A-8E24-6225DE6CCC2E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E6DEA1B3-13D5-4725-9E10-22B4F0FCCA01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2B7CF26F-6B9D-41FC-B267-02B1A1E98C1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0091B11A-CEDA-4076-B3F5-A670A52298A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7A080A12-A5DD-4ECF-B635-A3159C84495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50863" y="1449388"/>
            <a:ext cx="5472090" cy="237490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br>
              <a:rPr lang="en-US"/>
            </a:b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</a:t>
            </a:r>
            <a:br>
              <a:rPr lang="en-US"/>
            </a:br>
            <a:r>
              <a:rPr lang="en-US"/>
              <a:t>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378E9776-D97F-4590-9277-D11CC369C37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167438" y="1449388"/>
            <a:ext cx="5472089" cy="237490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br>
              <a:rPr lang="en-US"/>
            </a:b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</a:t>
            </a:r>
            <a:br>
              <a:rPr lang="en-US"/>
            </a:br>
            <a:r>
              <a:rPr lang="en-US"/>
              <a:t>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D5CBED9C-0CCF-4850-AFAA-68CC3AA8D219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602568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and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A8C003E-1ACD-4B73-8593-EA4182CEE6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4470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A8C003E-1ACD-4B73-8593-EA4182CEE6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070DA7B-83AF-4823-B8FA-263431C7B12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4" y="368300"/>
            <a:ext cx="7345362" cy="3921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255800C-E5B1-48FF-A39B-36B9AEC9D4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50863" y="3968750"/>
            <a:ext cx="3600450" cy="2376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F3F1FA3F-24AB-41DA-B1E6-0CB9E620D8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295775" y="3968750"/>
            <a:ext cx="3600450" cy="2376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4CA41CE7-C91E-4147-A12A-822166E6061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8040688" y="3968750"/>
            <a:ext cx="3600450" cy="2376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65E4DDEC-1AC4-4259-BB54-EB40FBDAC544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D55FFD51-C427-4AEF-91CF-3F8746F0F6EF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B047E058-BA9B-4DAA-9098-0427EAEDE48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78D08D14-13DC-4C47-881E-1D559DB2551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9" name="Bildplatzhalter 6">
            <a:extLst>
              <a:ext uri="{FF2B5EF4-FFF2-40B4-BE49-F238E27FC236}">
                <a16:creationId xmlns:a16="http://schemas.microsoft.com/office/drawing/2014/main" id="{5B128760-CF1A-4723-AA28-A2A09B223DC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50863" y="1449388"/>
            <a:ext cx="3600450" cy="237490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4A2BE166-1CF8-40B4-9C32-C01844FFE60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4295775" y="1449388"/>
            <a:ext cx="3600450" cy="237490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9117B4D6-65CD-48E5-93E3-15BAA42DD7E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8039077" y="1449388"/>
            <a:ext cx="3600450" cy="237490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2D55DE0A-6932-4BC6-BF37-21060F009FFF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760289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3 pictur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D158B0A-88A6-4164-8ABC-701DD14EE9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423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D158B0A-88A6-4164-8ABC-701DD14EE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070DA7B-83AF-4823-B8FA-263431C7B12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4" y="368300"/>
            <a:ext cx="7345362" cy="3921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255800C-E5B1-48FF-A39B-36B9AEC9D4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3440749"/>
            <a:ext cx="3600450" cy="383539"/>
          </a:xfrm>
        </p:spPr>
        <p:txBody>
          <a:bodyPr tIns="72000"/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Bildunterschrift</a:t>
            </a:r>
            <a:endParaRPr lang="en-US"/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F3F1FA3F-24AB-41DA-B1E6-0CB9E620D8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95775" y="3440749"/>
            <a:ext cx="3600450" cy="383539"/>
          </a:xfrm>
        </p:spPr>
        <p:txBody>
          <a:bodyPr tIns="72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Bildunterschrift</a:t>
            </a:r>
            <a:endParaRPr lang="en-US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4CA41CE7-C91E-4147-A12A-822166E606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040688" y="3440749"/>
            <a:ext cx="3600450" cy="383539"/>
          </a:xfrm>
        </p:spPr>
        <p:txBody>
          <a:bodyPr tIns="72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Bildunterschrift</a:t>
            </a:r>
            <a:endParaRPr lang="en-US"/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65E4DDEC-1AC4-4259-BB54-EB40FBDAC544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BE618CEB-4E9A-4DDC-9EE1-69C85065BAFC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B047E058-BA9B-4DAA-9098-0427EAEDE48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78D08D14-13DC-4C47-881E-1D559DB2551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9" name="Bildplatzhalter 6">
            <a:extLst>
              <a:ext uri="{FF2B5EF4-FFF2-40B4-BE49-F238E27FC236}">
                <a16:creationId xmlns:a16="http://schemas.microsoft.com/office/drawing/2014/main" id="{5B128760-CF1A-4723-AA28-A2A09B223DC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50862" y="1449389"/>
            <a:ext cx="3600451" cy="199136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4A2BE166-1CF8-40B4-9C32-C01844FFE60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4295775" y="1449389"/>
            <a:ext cx="3600450" cy="199136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9117B4D6-65CD-48E5-93E3-15BAA42DD7E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8040687" y="1449389"/>
            <a:ext cx="3600451" cy="199136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28" name="Textplatzhalter 8">
            <a:extLst>
              <a:ext uri="{FF2B5EF4-FFF2-40B4-BE49-F238E27FC236}">
                <a16:creationId xmlns:a16="http://schemas.microsoft.com/office/drawing/2014/main" id="{68244571-1DE0-4A2D-AF37-94196A91412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50863" y="5960110"/>
            <a:ext cx="3600450" cy="383539"/>
          </a:xfrm>
        </p:spPr>
        <p:txBody>
          <a:bodyPr tIns="72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Bildunterschrift</a:t>
            </a:r>
            <a:endParaRPr lang="en-US"/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D54419E8-2260-45BE-B642-6DBD5A02A7A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295775" y="5960110"/>
            <a:ext cx="3600450" cy="383539"/>
          </a:xfrm>
        </p:spPr>
        <p:txBody>
          <a:bodyPr tIns="72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Bildunterschrift</a:t>
            </a:r>
            <a:endParaRPr lang="en-US"/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BEA41140-2F95-47A6-B589-775AE1509C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8040688" y="5960110"/>
            <a:ext cx="3600450" cy="383539"/>
          </a:xfrm>
        </p:spPr>
        <p:txBody>
          <a:bodyPr tIns="72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Bildunterschrift</a:t>
            </a:r>
            <a:endParaRPr lang="en-US"/>
          </a:p>
        </p:txBody>
      </p:sp>
      <p:sp>
        <p:nvSpPr>
          <p:cNvPr id="31" name="Bildplatzhalter 6">
            <a:extLst>
              <a:ext uri="{FF2B5EF4-FFF2-40B4-BE49-F238E27FC236}">
                <a16:creationId xmlns:a16="http://schemas.microsoft.com/office/drawing/2014/main" id="{3EA3A683-DA01-4BE9-B52D-D132EB250AA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550862" y="3968750"/>
            <a:ext cx="3600451" cy="199136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32" name="Bildplatzhalter 6">
            <a:extLst>
              <a:ext uri="{FF2B5EF4-FFF2-40B4-BE49-F238E27FC236}">
                <a16:creationId xmlns:a16="http://schemas.microsoft.com/office/drawing/2014/main" id="{64217FD4-1552-45F9-AC49-42A810D693E6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295775" y="3968750"/>
            <a:ext cx="3600450" cy="199136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33" name="Bildplatzhalter 6">
            <a:extLst>
              <a:ext uri="{FF2B5EF4-FFF2-40B4-BE49-F238E27FC236}">
                <a16:creationId xmlns:a16="http://schemas.microsoft.com/office/drawing/2014/main" id="{60959061-137E-48D2-A69A-B95C8157B4A3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8040687" y="3968750"/>
            <a:ext cx="3600451" cy="199136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8EA5C46D-A93E-47DD-830A-60D49776C0B8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243227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X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B94A7AF-F3AB-4311-90AA-1DB23FCC9B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4218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B94A7AF-F3AB-4311-90AA-1DB23FCC9B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070DA7B-83AF-4823-B8FA-263431C7B12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4" y="368300"/>
            <a:ext cx="7345362" cy="3921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B1F6F38-3F66-4D8A-8D78-5453C060F1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449388"/>
            <a:ext cx="12191999" cy="5408612"/>
          </a:xfrm>
          <a:solidFill>
            <a:schemeClr val="accent2">
              <a:lumMod val="20000"/>
              <a:lumOff val="80000"/>
            </a:schemeClr>
          </a:solidFill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</a:t>
            </a:r>
            <a:br>
              <a:rPr lang="en-US"/>
            </a:b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</a:t>
            </a:r>
            <a:br>
              <a:rPr lang="en-US"/>
            </a:br>
            <a:r>
              <a:rPr lang="en-US"/>
              <a:t>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255800C-E5B1-48FF-A39B-36B9AEC9D4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0" y="5663047"/>
            <a:ext cx="4151313" cy="1194953"/>
          </a:xfrm>
          <a:solidFill>
            <a:schemeClr val="bg1"/>
          </a:solidFill>
        </p:spPr>
        <p:txBody>
          <a:bodyPr wrap="square" lIns="540000" tIns="468000" rIns="468000" bIns="468000" anchor="b" anchorCtr="0">
            <a:spAutoFit/>
          </a:bodyPr>
          <a:lstStyle>
            <a:lvl1pPr rtl="0">
              <a:defRPr/>
            </a:lvl1pPr>
            <a:lvl2pPr marL="252000" indent="-252000">
              <a:buFont typeface="Wingdings" panose="05000000000000000000" pitchFamily="2" charset="2"/>
              <a:buChar char="§"/>
              <a:defRPr/>
            </a:lvl2pPr>
            <a:lvl5pPr marL="252000" indent="0">
              <a:buNone/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CDBFD36-893B-4F5D-B769-251F8EB27134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9C5D6647-3C67-4872-9551-BC2463D482A6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26D8261-31E1-49E9-A5DF-FA184DFFC6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A402B41B-C536-4D0B-91C1-7091FAFEF8D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7C49C6C-673E-4CCA-93C6-A212C0710A39}"/>
              </a:ext>
            </a:extLst>
          </p:cNvPr>
          <p:cNvSpPr/>
          <p:nvPr userDrawn="1"/>
        </p:nvSpPr>
        <p:spPr bwMode="gray">
          <a:xfrm>
            <a:off x="-2" y="0"/>
            <a:ext cx="227350" cy="1449388"/>
          </a:xfrm>
          <a:prstGeom prst="rect">
            <a:avLst/>
          </a:prstGeom>
          <a:solidFill>
            <a:schemeClr val="bg1"/>
          </a:solidFill>
          <a:ln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2" name="Untertitel 2">
            <a:extLst>
              <a:ext uri="{FF2B5EF4-FFF2-40B4-BE49-F238E27FC236}">
                <a16:creationId xmlns:a16="http://schemas.microsoft.com/office/drawing/2014/main" id="{8DDB86FB-22BA-4B6E-BAA3-F12224F9741F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981364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fullsiz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5F6C533-248C-4E0B-8909-46146303F0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9489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5F6C533-248C-4E0B-8909-46146303F0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7F1FC3E1-91D0-4888-9149-24192F17D3C6}"/>
              </a:ext>
            </a:extLst>
          </p:cNvPr>
          <p:cNvSpPr/>
          <p:nvPr userDrawn="1"/>
        </p:nvSpPr>
        <p:spPr bwMode="gray">
          <a:xfrm>
            <a:off x="0" y="0"/>
            <a:ext cx="1219199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A927ADE5-455F-441B-8CD2-3FF9A6A852D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noFill/>
        </p:spPr>
        <p:txBody>
          <a:bodyPr wrap="square" lIns="288000" tIns="1080000" rIns="288000" anchor="ctr">
            <a:noAutofit/>
          </a:bodyPr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</a:t>
            </a:r>
            <a:br>
              <a:rPr lang="en-US"/>
            </a:b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</a:t>
            </a:r>
            <a:br>
              <a:rPr lang="en-US"/>
            </a:br>
            <a:r>
              <a:rPr lang="en-US"/>
              <a:t>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255800C-E5B1-48FF-A39B-36B9AEC9D4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-1" y="5663047"/>
            <a:ext cx="4151313" cy="1194953"/>
          </a:xfrm>
          <a:solidFill>
            <a:schemeClr val="tx2">
              <a:alpha val="80000"/>
            </a:schemeClr>
          </a:solidFill>
        </p:spPr>
        <p:txBody>
          <a:bodyPr lIns="540000" tIns="468000" rIns="468000" bIns="468000" anchor="b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CDBFD36-893B-4F5D-B769-251F8EB27134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>
          <a:xfrm>
            <a:off x="10456331" y="6954883"/>
            <a:ext cx="769781" cy="175612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pPr algn="r"/>
            <a:fld id="{602B0899-2C4F-4A7B-B88F-E84FED73A1DD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26D8261-31E1-49E9-A5DF-FA184DFFC6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>
          <a:xfrm>
            <a:off x="8040170" y="6954883"/>
            <a:ext cx="2416161" cy="175612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A402B41B-C536-4D0B-91C1-7091FAFEF8D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>
          <a:xfrm>
            <a:off x="11226113" y="6954883"/>
            <a:ext cx="413414" cy="175612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98633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_h&amp;z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9414059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86" imgH="286" progId="TCLayout.ActiveDocument.1">
                  <p:embed/>
                </p:oleObj>
              </mc:Choice>
              <mc:Fallback>
                <p:oleObj name="think-cell Folie" r:id="rId3" imgW="286" imgH="28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68923" y="1004400"/>
            <a:ext cx="11254154" cy="205200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err="1"/>
              <a:t>Subtitel</a:t>
            </a:r>
            <a:r>
              <a:rPr lang="en-US"/>
              <a:t>, Arial 14 Pt., </a:t>
            </a:r>
            <a:r>
              <a:rPr lang="en-US" err="1"/>
              <a:t>Schriftfarbe</a:t>
            </a:r>
            <a:r>
              <a:rPr lang="en-US"/>
              <a:t> </a:t>
            </a:r>
            <a:r>
              <a:rPr lang="en-US" err="1"/>
              <a:t>Dunkelblau</a:t>
            </a:r>
            <a:endParaRPr lang="en-US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pPr lvl="0"/>
            <a:r>
              <a:rPr lang="en-US" err="1"/>
              <a:t>Titel</a:t>
            </a:r>
            <a:r>
              <a:rPr lang="en-US"/>
              <a:t>, Arial 20 Pt., </a:t>
            </a:r>
            <a:r>
              <a:rPr lang="en-US" err="1"/>
              <a:t>Schriftfarbe</a:t>
            </a:r>
            <a:r>
              <a:rPr lang="en-US"/>
              <a:t> </a:t>
            </a:r>
            <a:r>
              <a:rPr lang="en-US" err="1"/>
              <a:t>Brombeer</a:t>
            </a:r>
            <a:r>
              <a:rPr lang="en-US"/>
              <a:t> (R125-G45-B85)</a:t>
            </a:r>
          </a:p>
        </p:txBody>
      </p:sp>
    </p:spTree>
    <p:extLst>
      <p:ext uri="{BB962C8B-B14F-4D97-AF65-F5344CB8AC3E}">
        <p14:creationId xmlns:p14="http://schemas.microsoft.com/office/powerpoint/2010/main" val="1140469401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| Grey Text Box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1B80313-0FDE-4085-B83C-1C9837F170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2819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498" imgH="499" progId="TCLayout.ActiveDocument.1">
                  <p:embed/>
                </p:oleObj>
              </mc:Choice>
              <mc:Fallback>
                <p:oleObj name="think-cell Folie" r:id="rId7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1B80313-0FDE-4085-B83C-1C9837F17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hapter">
            <a:extLst>
              <a:ext uri="{FF2B5EF4-FFF2-40B4-BE49-F238E27FC236}">
                <a16:creationId xmlns:a16="http://schemas.microsoft.com/office/drawing/2014/main" id="{D4912701-0F1C-43DF-AA25-1EBFFF43684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7" name="Content Placeholder Left">
            <a:extLst>
              <a:ext uri="{FF2B5EF4-FFF2-40B4-BE49-F238E27FC236}">
                <a16:creationId xmlns:a16="http://schemas.microsoft.com/office/drawing/2014/main" id="{CA26B44B-9BF5-4CBF-87F9-C7A9787E0C9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479425" y="1628776"/>
            <a:ext cx="8280400" cy="43911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5" name="Grey Rectangle">
            <a:extLst>
              <a:ext uri="{FF2B5EF4-FFF2-40B4-BE49-F238E27FC236}">
                <a16:creationId xmlns:a16="http://schemas.microsoft.com/office/drawing/2014/main" id="{02EE3BEB-7F7C-417B-BDB5-3AEACA8B78E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 flipH="1">
            <a:off x="9048328" y="1340767"/>
            <a:ext cx="3143672" cy="4967957"/>
          </a:xfrm>
          <a:prstGeom prst="rect">
            <a:avLst/>
          </a:prstGeom>
          <a:solidFill>
            <a:srgbClr val="E3E3E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Content Placeholder Right">
            <a:extLst>
              <a:ext uri="{FF2B5EF4-FFF2-40B4-BE49-F238E27FC236}">
                <a16:creationId xmlns:a16="http://schemas.microsoft.com/office/drawing/2014/main" id="{59CDA235-7A85-4201-984D-3DF266BEC8C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9336360" y="1628676"/>
            <a:ext cx="2376215" cy="43911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4E1E5E6-B880-46CE-8B8C-D36CEA2E7237}" type="datetime3">
              <a:rPr lang="en-US" smtClean="0"/>
              <a:pPr/>
              <a:t>1 February 2023</a:t>
            </a:fld>
            <a:endParaRPr lang="en-US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/>
              <a:t>Future Organizational Set-up of Purchasing - thoughts from h&amp;z</a:t>
            </a: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CCF10D83-73B2-4D20-BE53-AA27B2521160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5" name="Text Image Area" hidden="1">
            <a:extLst>
              <a:ext uri="{FF2B5EF4-FFF2-40B4-BE49-F238E27FC236}">
                <a16:creationId xmlns:a16="http://schemas.microsoft.com/office/drawing/2014/main" id="{04774668-0BCB-4D9E-A23D-E9CF2E7D003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>
              <a:solidFill>
                <a:srgbClr val="000000"/>
              </a:solidFill>
            </a:endParaRPr>
          </a:p>
        </p:txBody>
      </p:sp>
      <p:sp>
        <p:nvSpPr>
          <p:cNvPr id="13" name="White Area Logo" hidden="1">
            <a:extLst>
              <a:ext uri="{FF2B5EF4-FFF2-40B4-BE49-F238E27FC236}">
                <a16:creationId xmlns:a16="http://schemas.microsoft.com/office/drawing/2014/main" id="{726010D0-A986-48F7-ACB0-8205E408BA0A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53687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3814B2D-9500-4982-AA50-1DA93C9268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792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3814B2D-9500-4982-AA50-1DA93C9268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8732" y="1766888"/>
            <a:ext cx="10908340" cy="4625181"/>
          </a:xfrm>
        </p:spPr>
        <p:txBody>
          <a:bodyPr/>
          <a:lstStyle>
            <a:lvl1pPr marL="360000" indent="-360000" rtl="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1pPr>
            <a:lvl2pPr marL="355600" indent="-355600" rtl="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2pPr>
            <a:lvl3pPr marL="360000" indent="-360000" rtl="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3pPr>
            <a:lvl4pPr marL="360000" indent="-360000" rtl="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4pPr>
            <a:lvl5pPr marL="360000" indent="-360000" rtl="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5pPr>
            <a:lvl6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6pPr>
            <a:lvl7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7pPr>
            <a:lvl8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8pPr>
            <a:lvl9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9pPr>
          </a:lstStyle>
          <a:p>
            <a:pPr lvl="0"/>
            <a:r>
              <a:rPr lang="en-US"/>
              <a:t>Textmaster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42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1" y="1152797"/>
            <a:ext cx="8839416" cy="345805"/>
          </a:xfrm>
        </p:spPr>
        <p:txBody>
          <a:bodyPr anchor="ctr"/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Master-Untertitel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7FB524EF-13DD-48F5-862A-B189D612DB55}" type="slidenum">
              <a:rPr lang="en-US" smtClean="0"/>
              <a:pPr>
                <a:defRPr/>
              </a:pPr>
              <a:t>‹Nr.›</a:t>
            </a:fld>
            <a:endParaRPr lang="en-US"/>
          </a:p>
        </p:txBody>
      </p:sp>
      <p:sp>
        <p:nvSpPr>
          <p:cNvPr id="9" name="Datumsplatzhalter 4">
            <a:extLst>
              <a:ext uri="{FF2B5EF4-FFF2-40B4-BE49-F238E27FC236}">
                <a16:creationId xmlns:a16="http://schemas.microsoft.com/office/drawing/2014/main" id="{848F25C8-5F20-4B52-8C07-BEF30E565D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9846" y="6492876"/>
            <a:ext cx="3658393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pPr>
              <a:defRPr/>
            </a:pPr>
            <a:r>
              <a:rPr lang="en-US"/>
              <a:t>15.03.2021 – EK-Info TOM zum Start 01.04.2021 | Dr. Andreas Bruckner</a:t>
            </a:r>
          </a:p>
        </p:txBody>
      </p:sp>
    </p:spTree>
    <p:extLst>
      <p:ext uri="{BB962C8B-B14F-4D97-AF65-F5344CB8AC3E}">
        <p14:creationId xmlns:p14="http://schemas.microsoft.com/office/powerpoint/2010/main" val="530444016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in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29DB262-4EC3-42EB-9B47-A15456A16A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5941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29DB262-4EC3-42EB-9B47-A15456A16A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1008001"/>
            <a:ext cx="11376000" cy="394193"/>
          </a:xfrm>
          <a:prstGeom prst="roundRect">
            <a:avLst>
              <a:gd name="adj" fmla="val 0"/>
            </a:avLst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462F6F75-73FF-4978-9B57-C8C83743789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029452" y="6656950"/>
            <a:ext cx="4902200" cy="17889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836000"/>
            <a:ext cx="11376000" cy="360000"/>
          </a:xfrm>
          <a:solidFill>
            <a:schemeClr val="tx2"/>
          </a:solidFill>
          <a:ln w="9525">
            <a:solidFill>
              <a:schemeClr val="tx2"/>
            </a:solidFill>
          </a:ln>
        </p:spPr>
        <p:txBody>
          <a:bodyPr anchor="ctr"/>
          <a:lstStyle>
            <a:lvl1pPr algn="ctr" rtl="0">
              <a:lnSpc>
                <a:spcPct val="100000"/>
              </a:lnSpc>
              <a:spcBef>
                <a:spcPts val="985"/>
              </a:spcBef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masterformat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2232000"/>
            <a:ext cx="11376000" cy="4320000"/>
          </a:xfrm>
          <a:ln>
            <a:solidFill>
              <a:schemeClr val="accent1"/>
            </a:solidFill>
          </a:ln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Textmaster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748099838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FF5515F-FE7A-4B30-AD7F-77D59049AF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8525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FF5515F-FE7A-4B30-AD7F-77D59049AF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1008000"/>
            <a:ext cx="11376000" cy="394193"/>
          </a:xfrm>
          <a:prstGeom prst="roundRect">
            <a:avLst>
              <a:gd name="adj" fmla="val 0"/>
            </a:avLst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buClr>
                <a:schemeClr val="tx2"/>
              </a:buClr>
              <a:defRPr/>
            </a:lvl2pPr>
            <a:lvl3pPr rtl="0">
              <a:buClr>
                <a:schemeClr val="tx2"/>
              </a:buClr>
              <a:defRPr/>
            </a:lvl3pPr>
            <a:lvl4pPr rtl="0">
              <a:buClr>
                <a:schemeClr val="tx2"/>
              </a:buClr>
              <a:defRPr/>
            </a:lvl4pPr>
            <a:lvl5pPr rtl="0"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Textmaster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pPr algn="ctr" defTabSz="9545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462F6F75-73FF-4978-9B57-C8C837437896}" type="slidenum">
              <a:rPr lang="en-US" b="0" smtClean="0">
                <a:solidFill>
                  <a:srgbClr val="000000"/>
                </a:solidFill>
              </a:rPr>
              <a:pPr algn="ctr" defTabSz="95458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9562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0B9BF00-2AF4-4CAE-A151-9E6C79E434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5692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0B9BF00-2AF4-4CAE-A151-9E6C79E434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>
            <a:extLst>
              <a:ext uri="{FF2B5EF4-FFF2-40B4-BE49-F238E27FC236}">
                <a16:creationId xmlns:a16="http://schemas.microsoft.com/office/drawing/2014/main" id="{4C8EBBA1-C346-4A45-9CA1-2DC73348D413}"/>
              </a:ext>
            </a:extLst>
          </p:cNvPr>
          <p:cNvSpPr/>
          <p:nvPr userDrawn="1"/>
        </p:nvSpPr>
        <p:spPr>
          <a:xfrm>
            <a:off x="0" y="406800"/>
            <a:ext cx="9144071" cy="6451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7B0B74-6DFF-4DDB-B8F7-E1BD509AE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6056" y="0"/>
            <a:ext cx="4140200" cy="40680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Chap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7E9AF5-CCC7-4DDD-9970-FE12F9847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302126"/>
            <a:ext cx="6024562" cy="1871660"/>
          </a:xfrm>
          <a:noFill/>
        </p:spPr>
        <p:txBody>
          <a:bodyPr vert="horz" lIns="1008000" tIns="72000" rIns="288000" anchor="ctr"/>
          <a:lstStyle>
            <a:lvl1pPr rtl="0">
              <a:defRPr sz="3600"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A7C50BDA-43D0-4CD6-808E-854FB8AA805C}"/>
              </a:ext>
            </a:extLst>
          </p:cNvPr>
          <p:cNvSpPr/>
          <p:nvPr/>
        </p:nvSpPr>
        <p:spPr>
          <a:xfrm>
            <a:off x="11452052" y="3616484"/>
            <a:ext cx="6848" cy="3360"/>
          </a:xfrm>
          <a:custGeom>
            <a:avLst/>
            <a:gdLst>
              <a:gd name="connsiteX0" fmla="*/ 0 w 6848"/>
              <a:gd name="connsiteY0" fmla="*/ 0 h 3360"/>
              <a:gd name="connsiteX1" fmla="*/ 3641 w 6848"/>
              <a:gd name="connsiteY1" fmla="*/ 3361 h 3360"/>
              <a:gd name="connsiteX2" fmla="*/ 6849 w 6848"/>
              <a:gd name="connsiteY2" fmla="*/ 0 h 3360"/>
              <a:gd name="connsiteX3" fmla="*/ 0 w 6848"/>
              <a:gd name="connsiteY3" fmla="*/ 0 h 3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48" h="3360">
                <a:moveTo>
                  <a:pt x="0" y="0"/>
                </a:moveTo>
                <a:lnTo>
                  <a:pt x="3641" y="3361"/>
                </a:lnTo>
                <a:lnTo>
                  <a:pt x="684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8C41"/>
          </a:solidFill>
          <a:ln w="12707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/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FF5B60A0-4D92-447E-B6D1-7A4528108DB2}"/>
              </a:ext>
            </a:extLst>
          </p:cNvPr>
          <p:cNvSpPr/>
          <p:nvPr/>
        </p:nvSpPr>
        <p:spPr>
          <a:xfrm>
            <a:off x="9144071" y="926266"/>
            <a:ext cx="2931097" cy="5931734"/>
          </a:xfrm>
          <a:custGeom>
            <a:avLst/>
            <a:gdLst>
              <a:gd name="connsiteX0" fmla="*/ 2890762 w 2931097"/>
              <a:gd name="connsiteY0" fmla="*/ 3568964 h 5926265"/>
              <a:gd name="connsiteX1" fmla="*/ 2882934 w 2931097"/>
              <a:gd name="connsiteY1" fmla="*/ 3553041 h 5926265"/>
              <a:gd name="connsiteX2" fmla="*/ 2223756 w 2931097"/>
              <a:gd name="connsiteY2" fmla="*/ 2530845 h 5926265"/>
              <a:gd name="connsiteX3" fmla="*/ 2205296 w 2931097"/>
              <a:gd name="connsiteY3" fmla="*/ 2148858 h 5926265"/>
              <a:gd name="connsiteX4" fmla="*/ 1418269 w 2931097"/>
              <a:gd name="connsiteY4" fmla="*/ 685336 h 5926265"/>
              <a:gd name="connsiteX5" fmla="*/ -276 w 2931097"/>
              <a:gd name="connsiteY5" fmla="*/ -130 h 5926265"/>
              <a:gd name="connsiteX6" fmla="*/ -276 w 2931097"/>
              <a:gd name="connsiteY6" fmla="*/ 622268 h 5926265"/>
              <a:gd name="connsiteX7" fmla="*/ 1589687 w 2931097"/>
              <a:gd name="connsiteY7" fmla="*/ 2217128 h 5926265"/>
              <a:gd name="connsiteX8" fmla="*/ 1602665 w 2931097"/>
              <a:gd name="connsiteY8" fmla="*/ 2602896 h 5926265"/>
              <a:gd name="connsiteX9" fmla="*/ 1598251 w 2931097"/>
              <a:gd name="connsiteY9" fmla="*/ 2699103 h 5926265"/>
              <a:gd name="connsiteX10" fmla="*/ 2187192 w 2931097"/>
              <a:gd name="connsiteY10" fmla="*/ 3612354 h 5926265"/>
              <a:gd name="connsiteX11" fmla="*/ 1656460 w 2931097"/>
              <a:gd name="connsiteY11" fmla="*/ 3758892 h 5926265"/>
              <a:gd name="connsiteX12" fmla="*/ 1656980 w 2931097"/>
              <a:gd name="connsiteY12" fmla="*/ 5091545 h 5926265"/>
              <a:gd name="connsiteX13" fmla="*/ 1590448 w 2931097"/>
              <a:gd name="connsiteY13" fmla="*/ 5249971 h 5926265"/>
              <a:gd name="connsiteX14" fmla="*/ 1429726 w 2931097"/>
              <a:gd name="connsiteY14" fmla="*/ 5315576 h 5926265"/>
              <a:gd name="connsiteX15" fmla="*/ 785786 w 2931097"/>
              <a:gd name="connsiteY15" fmla="*/ 5315576 h 5926265"/>
              <a:gd name="connsiteX16" fmla="*/ 629010 w 2931097"/>
              <a:gd name="connsiteY16" fmla="*/ 5926136 h 5926265"/>
              <a:gd name="connsiteX17" fmla="*/ 1268040 w 2931097"/>
              <a:gd name="connsiteY17" fmla="*/ 5926136 h 5926265"/>
              <a:gd name="connsiteX18" fmla="*/ 1429726 w 2931097"/>
              <a:gd name="connsiteY18" fmla="*/ 5926111 h 5926265"/>
              <a:gd name="connsiteX19" fmla="*/ 2028589 w 2931097"/>
              <a:gd name="connsiteY19" fmla="*/ 5681590 h 5926265"/>
              <a:gd name="connsiteX20" fmla="*/ 2276471 w 2931097"/>
              <a:gd name="connsiteY20" fmla="*/ 5091317 h 5926265"/>
              <a:gd name="connsiteX21" fmla="*/ 2276155 w 2931097"/>
              <a:gd name="connsiteY21" fmla="*/ 4221823 h 5926265"/>
              <a:gd name="connsiteX22" fmla="*/ 2639263 w 2931097"/>
              <a:gd name="connsiteY22" fmla="*/ 4121581 h 5926265"/>
              <a:gd name="connsiteX23" fmla="*/ 2644667 w 2931097"/>
              <a:gd name="connsiteY23" fmla="*/ 4120033 h 5926265"/>
              <a:gd name="connsiteX24" fmla="*/ 2896762 w 2931097"/>
              <a:gd name="connsiteY24" fmla="*/ 3900456 h 5926265"/>
              <a:gd name="connsiteX25" fmla="*/ 2890762 w 2931097"/>
              <a:gd name="connsiteY25" fmla="*/ 3568964 h 592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931097" h="5926265">
                <a:moveTo>
                  <a:pt x="2890762" y="3568964"/>
                </a:moveTo>
                <a:lnTo>
                  <a:pt x="2882934" y="3553041"/>
                </a:lnTo>
                <a:lnTo>
                  <a:pt x="2223756" y="2530845"/>
                </a:lnTo>
                <a:cubicBezTo>
                  <a:pt x="2225012" y="2403262"/>
                  <a:pt x="2218846" y="2275717"/>
                  <a:pt x="2205296" y="2148858"/>
                </a:cubicBezTo>
                <a:cubicBezTo>
                  <a:pt x="2145286" y="1623302"/>
                  <a:pt x="1858440" y="1089868"/>
                  <a:pt x="1418269" y="685336"/>
                </a:cubicBezTo>
                <a:cubicBezTo>
                  <a:pt x="1128443" y="418980"/>
                  <a:pt x="664902" y="111911"/>
                  <a:pt x="-276" y="-130"/>
                </a:cubicBezTo>
                <a:lnTo>
                  <a:pt x="-276" y="622268"/>
                </a:lnTo>
                <a:cubicBezTo>
                  <a:pt x="990913" y="837278"/>
                  <a:pt x="1522622" y="1629874"/>
                  <a:pt x="1589687" y="2217128"/>
                </a:cubicBezTo>
                <a:cubicBezTo>
                  <a:pt x="1602755" y="2345269"/>
                  <a:pt x="1607093" y="2474158"/>
                  <a:pt x="1602665" y="2602896"/>
                </a:cubicBezTo>
                <a:lnTo>
                  <a:pt x="1598251" y="2699103"/>
                </a:lnTo>
                <a:lnTo>
                  <a:pt x="2187192" y="3612354"/>
                </a:lnTo>
                <a:lnTo>
                  <a:pt x="1656460" y="3758892"/>
                </a:lnTo>
                <a:lnTo>
                  <a:pt x="1656980" y="5091545"/>
                </a:lnTo>
                <a:cubicBezTo>
                  <a:pt x="1657081" y="5151162"/>
                  <a:pt x="1633090" y="5208306"/>
                  <a:pt x="1590448" y="5249971"/>
                </a:cubicBezTo>
                <a:cubicBezTo>
                  <a:pt x="1547654" y="5292219"/>
                  <a:pt x="1489864" y="5315804"/>
                  <a:pt x="1429726" y="5315576"/>
                </a:cubicBezTo>
                <a:lnTo>
                  <a:pt x="785786" y="5315576"/>
                </a:lnTo>
                <a:lnTo>
                  <a:pt x="629010" y="5926136"/>
                </a:lnTo>
                <a:lnTo>
                  <a:pt x="1268040" y="5926136"/>
                </a:lnTo>
                <a:lnTo>
                  <a:pt x="1429726" y="5926111"/>
                </a:lnTo>
                <a:cubicBezTo>
                  <a:pt x="1653821" y="5926973"/>
                  <a:pt x="1869136" y="5839063"/>
                  <a:pt x="2028589" y="5681590"/>
                </a:cubicBezTo>
                <a:cubicBezTo>
                  <a:pt x="2187496" y="5526349"/>
                  <a:pt x="2276890" y="5313470"/>
                  <a:pt x="2276471" y="5091317"/>
                </a:cubicBezTo>
                <a:lnTo>
                  <a:pt x="2276155" y="4221823"/>
                </a:lnTo>
                <a:lnTo>
                  <a:pt x="2639263" y="4121581"/>
                </a:lnTo>
                <a:lnTo>
                  <a:pt x="2644667" y="4120033"/>
                </a:lnTo>
                <a:cubicBezTo>
                  <a:pt x="2756797" y="4087275"/>
                  <a:pt x="2848932" y="4007029"/>
                  <a:pt x="2896762" y="3900456"/>
                </a:cubicBezTo>
                <a:cubicBezTo>
                  <a:pt x="2944188" y="3794568"/>
                  <a:pt x="2941992" y="3673063"/>
                  <a:pt x="2890762" y="3568964"/>
                </a:cubicBezTo>
                <a:close/>
              </a:path>
            </a:pathLst>
          </a:custGeom>
          <a:solidFill>
            <a:schemeClr val="accent5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/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93CE92C6-C705-4194-9F1F-D58E3C4CF5AD}"/>
              </a:ext>
            </a:extLst>
          </p:cNvPr>
          <p:cNvSpPr/>
          <p:nvPr/>
        </p:nvSpPr>
        <p:spPr>
          <a:xfrm>
            <a:off x="5772150" y="882296"/>
            <a:ext cx="3371921" cy="5975704"/>
          </a:xfrm>
          <a:custGeom>
            <a:avLst/>
            <a:gdLst>
              <a:gd name="connsiteX0" fmla="*/ 3371646 w 3371921"/>
              <a:gd name="connsiteY0" fmla="*/ 43840 h 5970235"/>
              <a:gd name="connsiteX1" fmla="*/ 2836232 w 3371921"/>
              <a:gd name="connsiteY1" fmla="*/ -108 h 5970235"/>
              <a:gd name="connsiteX2" fmla="*/ 2835192 w 3371921"/>
              <a:gd name="connsiteY2" fmla="*/ -108 h 5970235"/>
              <a:gd name="connsiteX3" fmla="*/ 830585 w 3371921"/>
              <a:gd name="connsiteY3" fmla="*/ 818015 h 5970235"/>
              <a:gd name="connsiteX4" fmla="*/ -276 w 3371921"/>
              <a:gd name="connsiteY4" fmla="*/ 2794304 h 5970235"/>
              <a:gd name="connsiteX5" fmla="*/ -276 w 3371921"/>
              <a:gd name="connsiteY5" fmla="*/ 2849582 h 5970235"/>
              <a:gd name="connsiteX6" fmla="*/ 899997 w 3371921"/>
              <a:gd name="connsiteY6" fmla="*/ 4743670 h 5970235"/>
              <a:gd name="connsiteX7" fmla="*/ 1349403 w 3371921"/>
              <a:gd name="connsiteY7" fmla="*/ 5112665 h 5970235"/>
              <a:gd name="connsiteX8" fmla="*/ 1456851 w 3371921"/>
              <a:gd name="connsiteY8" fmla="*/ 5439145 h 5970235"/>
              <a:gd name="connsiteX9" fmla="*/ 1319918 w 3371921"/>
              <a:gd name="connsiteY9" fmla="*/ 5970106 h 5970235"/>
              <a:gd name="connsiteX10" fmla="*/ 1959113 w 3371921"/>
              <a:gd name="connsiteY10" fmla="*/ 5970106 h 5970235"/>
              <a:gd name="connsiteX11" fmla="*/ 2057262 w 3371921"/>
              <a:gd name="connsiteY11" fmla="*/ 5589540 h 5970235"/>
              <a:gd name="connsiteX12" fmla="*/ 1745993 w 3371921"/>
              <a:gd name="connsiteY12" fmla="*/ 4643619 h 5970235"/>
              <a:gd name="connsiteX13" fmla="*/ 1296561 w 3371921"/>
              <a:gd name="connsiteY13" fmla="*/ 4274611 h 5970235"/>
              <a:gd name="connsiteX14" fmla="*/ 619241 w 3371921"/>
              <a:gd name="connsiteY14" fmla="*/ 2849582 h 5970235"/>
              <a:gd name="connsiteX15" fmla="*/ 619241 w 3371921"/>
              <a:gd name="connsiteY15" fmla="*/ 2794304 h 5970235"/>
              <a:gd name="connsiteX16" fmla="*/ 1268561 w 3371921"/>
              <a:gd name="connsiteY16" fmla="*/ 1249799 h 5970235"/>
              <a:gd name="connsiteX17" fmla="*/ 2835293 w 3371921"/>
              <a:gd name="connsiteY17" fmla="*/ 610414 h 5970235"/>
              <a:gd name="connsiteX18" fmla="*/ 2836118 w 3371921"/>
              <a:gd name="connsiteY18" fmla="*/ 610414 h 5970235"/>
              <a:gd name="connsiteX19" fmla="*/ 3371646 w 3371921"/>
              <a:gd name="connsiteY19" fmla="*/ 666238 h 5970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371921" h="5970235">
                <a:moveTo>
                  <a:pt x="3371646" y="43840"/>
                </a:moveTo>
                <a:cubicBezTo>
                  <a:pt x="3194709" y="14279"/>
                  <a:pt x="3015617" y="-413"/>
                  <a:pt x="2836232" y="-108"/>
                </a:cubicBezTo>
                <a:lnTo>
                  <a:pt x="2835192" y="-108"/>
                </a:lnTo>
                <a:cubicBezTo>
                  <a:pt x="2085136" y="-3013"/>
                  <a:pt x="1364425" y="291127"/>
                  <a:pt x="830585" y="818015"/>
                </a:cubicBezTo>
                <a:cubicBezTo>
                  <a:pt x="294791" y="1345841"/>
                  <a:pt x="-276" y="2047711"/>
                  <a:pt x="-276" y="2794304"/>
                </a:cubicBezTo>
                <a:lnTo>
                  <a:pt x="-276" y="2849582"/>
                </a:lnTo>
                <a:cubicBezTo>
                  <a:pt x="-276" y="3583474"/>
                  <a:pt x="327866" y="4273850"/>
                  <a:pt x="899997" y="4743670"/>
                </a:cubicBezTo>
                <a:lnTo>
                  <a:pt x="1349403" y="5112665"/>
                </a:lnTo>
                <a:cubicBezTo>
                  <a:pt x="1445471" y="5191466"/>
                  <a:pt x="1487339" y="5318693"/>
                  <a:pt x="1456851" y="5439145"/>
                </a:cubicBezTo>
                <a:lnTo>
                  <a:pt x="1319918" y="5970106"/>
                </a:lnTo>
                <a:lnTo>
                  <a:pt x="1959113" y="5970106"/>
                </a:lnTo>
                <a:lnTo>
                  <a:pt x="2057262" y="5589540"/>
                </a:lnTo>
                <a:cubicBezTo>
                  <a:pt x="2145540" y="5240553"/>
                  <a:pt x="2024262" y="4871976"/>
                  <a:pt x="1745993" y="4643619"/>
                </a:cubicBezTo>
                <a:lnTo>
                  <a:pt x="1296561" y="4274611"/>
                </a:lnTo>
                <a:cubicBezTo>
                  <a:pt x="868177" y="3925471"/>
                  <a:pt x="619470" y="3402224"/>
                  <a:pt x="619241" y="2849582"/>
                </a:cubicBezTo>
                <a:lnTo>
                  <a:pt x="619241" y="2794304"/>
                </a:lnTo>
                <a:cubicBezTo>
                  <a:pt x="618353" y="2212924"/>
                  <a:pt x="852534" y="1655892"/>
                  <a:pt x="1268561" y="1249799"/>
                </a:cubicBezTo>
                <a:cubicBezTo>
                  <a:pt x="1685780" y="837985"/>
                  <a:pt x="2249067" y="608117"/>
                  <a:pt x="2835293" y="610414"/>
                </a:cubicBezTo>
                <a:lnTo>
                  <a:pt x="2836118" y="610414"/>
                </a:lnTo>
                <a:cubicBezTo>
                  <a:pt x="3016112" y="609843"/>
                  <a:pt x="3195635" y="628557"/>
                  <a:pt x="3371646" y="666238"/>
                </a:cubicBezTo>
                <a:close/>
              </a:path>
            </a:pathLst>
          </a:custGeom>
          <a:solidFill>
            <a:schemeClr val="accent2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/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EF69A909-19AB-4816-A2B8-E2939CDE883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8626" y="95400"/>
            <a:ext cx="216000" cy="216000"/>
          </a:xfrm>
          <a:noFill/>
        </p:spPr>
        <p:txBody>
          <a:bodyPr vert="horz" lIns="0" tIns="0" rIns="0" bIns="0" rtlCol="0" anchor="ctr"/>
          <a:lstStyle>
            <a:lvl1pPr marL="0" indent="0" algn="l" rtl="0">
              <a:lnSpc>
                <a:spcPct val="100000"/>
              </a:lnSpc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algn="ctr"/>
            <a:r>
              <a:rPr lang="en-US"/>
              <a:t>Mastertextformat bearbeite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E77B5D8-2C08-4C5D-8024-9BCA2C51712B}"/>
              </a:ext>
            </a:extLst>
          </p:cNvPr>
          <p:cNvSpPr/>
          <p:nvPr userDrawn="1"/>
        </p:nvSpPr>
        <p:spPr>
          <a:xfrm>
            <a:off x="11469915" y="6324599"/>
            <a:ext cx="449035" cy="187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l" rtl="0">
              <a:lnSpc>
                <a:spcPct val="12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3" name="Rectangle 15">
            <a:extLst>
              <a:ext uri="{FF2B5EF4-FFF2-40B4-BE49-F238E27FC236}">
                <a16:creationId xmlns:a16="http://schemas.microsoft.com/office/drawing/2014/main" id="{8DA6A795-E879-42BF-9FAE-8DD329A82B31}"/>
              </a:ext>
            </a:extLst>
          </p:cNvPr>
          <p:cNvSpPr/>
          <p:nvPr userDrawn="1"/>
        </p:nvSpPr>
        <p:spPr>
          <a:xfrm>
            <a:off x="706056" y="-695325"/>
            <a:ext cx="2540900" cy="525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Alternative dividers</a:t>
            </a:r>
          </a:p>
        </p:txBody>
      </p:sp>
    </p:spTree>
    <p:extLst>
      <p:ext uri="{BB962C8B-B14F-4D97-AF65-F5344CB8AC3E}">
        <p14:creationId xmlns:p14="http://schemas.microsoft.com/office/powerpoint/2010/main" val="18853105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3747373-3CAE-4F91-BA2C-0F73E269B7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982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3747373-3CAE-4F91-BA2C-0F73E269B7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1008000"/>
            <a:ext cx="11376000" cy="394193"/>
          </a:xfrm>
          <a:prstGeom prst="roundRect">
            <a:avLst>
              <a:gd name="adj" fmla="val 0"/>
            </a:avLst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Titelmasterformat durch Klicken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pPr algn="ctr" defTabSz="9545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462F6F75-73FF-4978-9B57-C8C837437896}" type="slidenum">
              <a:rPr lang="en-US" b="0" smtClean="0">
                <a:solidFill>
                  <a:srgbClr val="000000"/>
                </a:solidFill>
              </a:rPr>
              <a:pPr algn="ctr" defTabSz="95458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3635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-line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AC42EAD-9C4F-4EE2-AA75-D00EDB5E4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4824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AC42EAD-9C4F-4EE2-AA75-D00EDB5E46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2936" y="1008001"/>
            <a:ext cx="11424000" cy="394193"/>
          </a:xfrm>
          <a:prstGeom prst="roundRect">
            <a:avLst>
              <a:gd name="adj" fmla="val 0"/>
            </a:avLst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(Arial 24pt, bold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462F6F75-73FF-4978-9B57-C8C83743789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4001" y="1836000"/>
            <a:ext cx="11423649" cy="360000"/>
          </a:xfrm>
          <a:solidFill>
            <a:schemeClr val="tx2"/>
          </a:solidFill>
          <a:ln w="9525">
            <a:solidFill>
              <a:schemeClr val="tx2"/>
            </a:solidFill>
          </a:ln>
        </p:spPr>
        <p:txBody>
          <a:bodyPr anchor="ctr"/>
          <a:lstStyle>
            <a:lvl1pPr algn="ctr" rtl="0">
              <a:lnSpc>
                <a:spcPct val="100000"/>
              </a:lnSpc>
              <a:spcBef>
                <a:spcPts val="985"/>
              </a:spcBef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Subhead (16pt, bold)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4000" y="2232000"/>
            <a:ext cx="11424000" cy="4320000"/>
          </a:xfrm>
          <a:ln>
            <a:solidFill>
              <a:schemeClr val="accent1"/>
            </a:solidFill>
          </a:ln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Text (Arial, 20pt)</a:t>
            </a:r>
          </a:p>
          <a:p>
            <a:pPr lvl="1"/>
            <a:r>
              <a:rPr lang="en-US"/>
              <a:t>Text (Arial, 20pt)</a:t>
            </a:r>
          </a:p>
          <a:p>
            <a:pPr lvl="2"/>
            <a:r>
              <a:rPr lang="en-US"/>
              <a:t>Text (Arial, 18pt)</a:t>
            </a:r>
          </a:p>
          <a:p>
            <a:pPr lvl="3"/>
            <a:r>
              <a:rPr lang="en-US"/>
              <a:t>Text (Arial, 18pt)</a:t>
            </a:r>
          </a:p>
          <a:p>
            <a:pPr lvl="4"/>
            <a:r>
              <a:rPr lang="en-US"/>
              <a:t>Text (Arial, 18pt)</a:t>
            </a:r>
          </a:p>
        </p:txBody>
      </p:sp>
    </p:spTree>
    <p:extLst>
      <p:ext uri="{BB962C8B-B14F-4D97-AF65-F5344CB8AC3E}">
        <p14:creationId xmlns:p14="http://schemas.microsoft.com/office/powerpoint/2010/main" val="535269617"/>
      </p:ext>
    </p:extLst>
  </p:cSld>
  <p:clrMapOvr>
    <a:masterClrMapping/>
  </p:clrMapOvr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 with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883965-8954-4879-A34F-11B62A90C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049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883965-8954-4879-A34F-11B62A90C8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1" name="Bildplatzhalter 150">
            <a:extLst>
              <a:ext uri="{FF2B5EF4-FFF2-40B4-BE49-F238E27FC236}">
                <a16:creationId xmlns:a16="http://schemas.microsoft.com/office/drawing/2014/main" id="{E7F32F5B-EA82-4BC0-9EAC-09106C33DD9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641138 w 12192000"/>
              <a:gd name="connsiteY3" fmla="*/ 6858000 h 6858000"/>
              <a:gd name="connsiteX4" fmla="*/ 11641138 w 12192000"/>
              <a:gd name="connsiteY4" fmla="*/ 6857999 h 6858000"/>
              <a:gd name="connsiteX5" fmla="*/ 11641138 w 12192000"/>
              <a:gd name="connsiteY5" fmla="*/ 4869000 h 6858000"/>
              <a:gd name="connsiteX6" fmla="*/ 11641138 w 12192000"/>
              <a:gd name="connsiteY6" fmla="*/ 4796848 h 6858000"/>
              <a:gd name="connsiteX7" fmla="*/ 0 w 12192000"/>
              <a:gd name="connsiteY7" fmla="*/ 47968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641138" y="6858000"/>
                </a:lnTo>
                <a:lnTo>
                  <a:pt x="11641138" y="6857999"/>
                </a:lnTo>
                <a:lnTo>
                  <a:pt x="11641138" y="4869000"/>
                </a:lnTo>
                <a:lnTo>
                  <a:pt x="11641138" y="4796848"/>
                </a:lnTo>
                <a:lnTo>
                  <a:pt x="0" y="4796848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</p:spPr>
        <p:txBody>
          <a:bodyPr wrap="square" lIns="288000" tIns="0" rIns="288000" bIns="3240000" anchor="ctr">
            <a:noAutofit/>
          </a:bodyPr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br>
              <a:rPr lang="en-US"/>
            </a:b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</a:t>
            </a:r>
            <a:br>
              <a:rPr lang="en-US"/>
            </a:br>
            <a:r>
              <a:rPr lang="en-US"/>
              <a:t>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47A462B-8672-496C-BE67-810F6B828B9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0456331" y="6980755"/>
            <a:ext cx="769781" cy="175612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pPr algn="r"/>
            <a:fld id="{65F9ECCF-49D5-46D1-A756-A7C83800ED77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7872437-F00C-4545-B4BC-9E6898EC20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040170" y="6980755"/>
            <a:ext cx="2416161" cy="175612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EA61544-45E5-41A9-943B-0DB3C9C640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226113" y="6980755"/>
            <a:ext cx="413414" cy="175612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A4DA651-6936-48F3-ACBE-CFE0B97E9E2F}"/>
              </a:ext>
            </a:extLst>
          </p:cNvPr>
          <p:cNvGrpSpPr/>
          <p:nvPr userDrawn="1"/>
        </p:nvGrpSpPr>
        <p:grpSpPr bwMode="gray">
          <a:xfrm>
            <a:off x="-93663" y="-163318"/>
            <a:ext cx="12408868" cy="7126208"/>
            <a:chOff x="-93663" y="-163318"/>
            <a:chExt cx="12408868" cy="7126208"/>
          </a:xfrm>
        </p:grpSpPr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D96192A8-A102-49D8-BCBF-8621258C00B8}"/>
                </a:ext>
              </a:extLst>
            </p:cNvPr>
            <p:cNvGrpSpPr/>
            <p:nvPr userDrawn="1"/>
          </p:nvGrpSpPr>
          <p:grpSpPr bwMode="gray">
            <a:xfrm>
              <a:off x="-93663" y="368300"/>
              <a:ext cx="68263" cy="5976938"/>
              <a:chOff x="-93663" y="368300"/>
              <a:chExt cx="68263" cy="5976938"/>
            </a:xfrm>
          </p:grpSpPr>
          <p:cxnSp>
            <p:nvCxnSpPr>
              <p:cNvPr id="73" name="Gerader Verbinder 72">
                <a:extLst>
                  <a:ext uri="{FF2B5EF4-FFF2-40B4-BE49-F238E27FC236}">
                    <a16:creationId xmlns:a16="http://schemas.microsoft.com/office/drawing/2014/main" id="{F17FCB6E-4527-4B46-8E1A-F84E649C422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8300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Gerader Verbinder 73">
                <a:extLst>
                  <a:ext uri="{FF2B5EF4-FFF2-40B4-BE49-F238E27FC236}">
                    <a16:creationId xmlns:a16="http://schemas.microsoft.com/office/drawing/2014/main" id="{43D68C80-3DAE-4B0C-9A18-619570AF0B7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090083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r Verbinder 74">
                <a:extLst>
                  <a:ext uri="{FF2B5EF4-FFF2-40B4-BE49-F238E27FC236}">
                    <a16:creationId xmlns:a16="http://schemas.microsoft.com/office/drawing/2014/main" id="{76B8BA71-27F6-45EE-820B-B11866C9EC4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449917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r Verbinder 75">
                <a:extLst>
                  <a:ext uri="{FF2B5EF4-FFF2-40B4-BE49-F238E27FC236}">
                    <a16:creationId xmlns:a16="http://schemas.microsoft.com/office/drawing/2014/main" id="{1E974837-9103-4D9B-86FB-9718950F6EA0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82428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r Verbinder 76">
                <a:extLst>
                  <a:ext uri="{FF2B5EF4-FFF2-40B4-BE49-F238E27FC236}">
                    <a16:creationId xmlns:a16="http://schemas.microsoft.com/office/drawing/2014/main" id="{E47FC3FD-6259-42A2-B019-4D0710B3F503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96822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r Verbinder 77">
                <a:extLst>
                  <a:ext uri="{FF2B5EF4-FFF2-40B4-BE49-F238E27FC236}">
                    <a16:creationId xmlns:a16="http://schemas.microsoft.com/office/drawing/2014/main" id="{D4C42C3A-E695-4053-9548-853662932B5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2194DC05-0BBA-4CA4-9180-769934326A38}"/>
                </a:ext>
              </a:extLst>
            </p:cNvPr>
            <p:cNvGrpSpPr/>
            <p:nvPr userDrawn="1"/>
          </p:nvGrpSpPr>
          <p:grpSpPr bwMode="gray">
            <a:xfrm>
              <a:off x="12246942" y="368300"/>
              <a:ext cx="68263" cy="5976938"/>
              <a:chOff x="-93663" y="368300"/>
              <a:chExt cx="68263" cy="5976938"/>
            </a:xfrm>
          </p:grpSpPr>
          <p:cxnSp>
            <p:nvCxnSpPr>
              <p:cNvPr id="67" name="Gerader Verbinder 66">
                <a:extLst>
                  <a:ext uri="{FF2B5EF4-FFF2-40B4-BE49-F238E27FC236}">
                    <a16:creationId xmlns:a16="http://schemas.microsoft.com/office/drawing/2014/main" id="{F09AC357-41AD-49FA-BC7B-8FD106F44CA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8300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Gerader Verbinder 67">
                <a:extLst>
                  <a:ext uri="{FF2B5EF4-FFF2-40B4-BE49-F238E27FC236}">
                    <a16:creationId xmlns:a16="http://schemas.microsoft.com/office/drawing/2014/main" id="{B90EAA19-E7D3-4D64-A51C-CE8EF5A7EC38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090083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Gerader Verbinder 68">
                <a:extLst>
                  <a:ext uri="{FF2B5EF4-FFF2-40B4-BE49-F238E27FC236}">
                    <a16:creationId xmlns:a16="http://schemas.microsoft.com/office/drawing/2014/main" id="{D5B9C429-89B8-4D22-BDB2-1E30C013757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449917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Gerader Verbinder 69">
                <a:extLst>
                  <a:ext uri="{FF2B5EF4-FFF2-40B4-BE49-F238E27FC236}">
                    <a16:creationId xmlns:a16="http://schemas.microsoft.com/office/drawing/2014/main" id="{DCF866D0-EAB9-4039-8936-43A80A72A7F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824923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Gerader Verbinder 70">
                <a:extLst>
                  <a:ext uri="{FF2B5EF4-FFF2-40B4-BE49-F238E27FC236}">
                    <a16:creationId xmlns:a16="http://schemas.microsoft.com/office/drawing/2014/main" id="{FB8E70AA-6186-438A-9FEB-064E094809AB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968857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Gerader Verbinder 71">
                <a:extLst>
                  <a:ext uri="{FF2B5EF4-FFF2-40B4-BE49-F238E27FC236}">
                    <a16:creationId xmlns:a16="http://schemas.microsoft.com/office/drawing/2014/main" id="{64F5416F-E200-463B-9226-FE20CCB73E2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F7DE1E80-98CE-4F89-AB26-93226F1E5952}"/>
                </a:ext>
              </a:extLst>
            </p:cNvPr>
            <p:cNvGrpSpPr/>
            <p:nvPr userDrawn="1"/>
          </p:nvGrpSpPr>
          <p:grpSpPr bwMode="gray">
            <a:xfrm rot="5400000">
              <a:off x="6061869" y="-5674316"/>
              <a:ext cx="68263" cy="11090260"/>
              <a:chOff x="-93663" y="-4745022"/>
              <a:chExt cx="68263" cy="11090260"/>
            </a:xfrm>
          </p:grpSpPr>
          <p:cxnSp>
            <p:nvCxnSpPr>
              <p:cNvPr id="55" name="Gerader Verbinder 54">
                <a:extLst>
                  <a:ext uri="{FF2B5EF4-FFF2-40B4-BE49-F238E27FC236}">
                    <a16:creationId xmlns:a16="http://schemas.microsoft.com/office/drawing/2014/main" id="{2FE11A10-7EBE-47AA-85DE-1F49490AD603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533774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r Verbinder 55">
                <a:extLst>
                  <a:ext uri="{FF2B5EF4-FFF2-40B4-BE49-F238E27FC236}">
                    <a16:creationId xmlns:a16="http://schemas.microsoft.com/office/drawing/2014/main" id="{1F34DEB0-5589-4656-91DF-26A91024832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7770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r Verbinder 56">
                <a:extLst>
                  <a:ext uri="{FF2B5EF4-FFF2-40B4-BE49-F238E27FC236}">
                    <a16:creationId xmlns:a16="http://schemas.microsoft.com/office/drawing/2014/main" id="{D7CEB9A8-4BF5-4083-B02F-026648BF40C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r Verbinder 57">
                <a:extLst>
                  <a:ext uri="{FF2B5EF4-FFF2-40B4-BE49-F238E27FC236}">
                    <a16:creationId xmlns:a16="http://schemas.microsoft.com/office/drawing/2014/main" id="{E220438A-1761-434D-9071-F33A9405773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59714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r Verbinder 58">
                <a:extLst>
                  <a:ext uri="{FF2B5EF4-FFF2-40B4-BE49-F238E27FC236}">
                    <a16:creationId xmlns:a16="http://schemas.microsoft.com/office/drawing/2014/main" id="{3B45D209-1413-41A7-A1B7-37C393C73BD0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74108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r Verbinder 59">
                <a:extLst>
                  <a:ext uri="{FF2B5EF4-FFF2-40B4-BE49-F238E27FC236}">
                    <a16:creationId xmlns:a16="http://schemas.microsoft.com/office/drawing/2014/main" id="{73779B7D-47CF-43C3-8E2C-35EDA37D8E9B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72707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r Verbinder 60">
                <a:extLst>
                  <a:ext uri="{FF2B5EF4-FFF2-40B4-BE49-F238E27FC236}">
                    <a16:creationId xmlns:a16="http://schemas.microsoft.com/office/drawing/2014/main" id="{0F54F4A6-E11D-4A62-9FD1-B2DE83C0982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871006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r Verbinder 61">
                <a:extLst>
                  <a:ext uri="{FF2B5EF4-FFF2-40B4-BE49-F238E27FC236}">
                    <a16:creationId xmlns:a16="http://schemas.microsoft.com/office/drawing/2014/main" id="{2C14E678-38B0-4481-AD13-9107352C064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14406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r Verbinder 62">
                <a:extLst>
                  <a:ext uri="{FF2B5EF4-FFF2-40B4-BE49-F238E27FC236}">
                    <a16:creationId xmlns:a16="http://schemas.microsoft.com/office/drawing/2014/main" id="{75553F70-2E25-4371-914B-E81CED31B0AB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00011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r Verbinder 63">
                <a:extLst>
                  <a:ext uri="{FF2B5EF4-FFF2-40B4-BE49-F238E27FC236}">
                    <a16:creationId xmlns:a16="http://schemas.microsoft.com/office/drawing/2014/main" id="{170708ED-B0EF-4E3E-876A-8E7B8272516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2082275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Gerader Verbinder 64">
                <a:extLst>
                  <a:ext uri="{FF2B5EF4-FFF2-40B4-BE49-F238E27FC236}">
                    <a16:creationId xmlns:a16="http://schemas.microsoft.com/office/drawing/2014/main" id="{023F619F-3D6E-40AD-812E-A79E3726D9D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93833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Gerader Verbinder 65">
                <a:extLst>
                  <a:ext uri="{FF2B5EF4-FFF2-40B4-BE49-F238E27FC236}">
                    <a16:creationId xmlns:a16="http://schemas.microsoft.com/office/drawing/2014/main" id="{FB6E71A0-84F1-4D95-822A-C7F0588ADF7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474502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0D8DB276-3F58-4E1D-80A0-68A6B2CEB541}"/>
                </a:ext>
              </a:extLst>
            </p:cNvPr>
            <p:cNvGrpSpPr/>
            <p:nvPr userDrawn="1"/>
          </p:nvGrpSpPr>
          <p:grpSpPr bwMode="gray">
            <a:xfrm rot="5400000">
              <a:off x="6061870" y="1383629"/>
              <a:ext cx="68263" cy="11090260"/>
              <a:chOff x="-93663" y="-4745022"/>
              <a:chExt cx="68263" cy="11090260"/>
            </a:xfrm>
          </p:grpSpPr>
          <p:cxnSp>
            <p:nvCxnSpPr>
              <p:cNvPr id="43" name="Gerader Verbinder 42">
                <a:extLst>
                  <a:ext uri="{FF2B5EF4-FFF2-40B4-BE49-F238E27FC236}">
                    <a16:creationId xmlns:a16="http://schemas.microsoft.com/office/drawing/2014/main" id="{609692D6-7A3C-41A7-BE16-B2C4A8A5B088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533774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r Verbinder 43">
                <a:extLst>
                  <a:ext uri="{FF2B5EF4-FFF2-40B4-BE49-F238E27FC236}">
                    <a16:creationId xmlns:a16="http://schemas.microsoft.com/office/drawing/2014/main" id="{2A827B20-75A0-4638-976F-36BF04105F1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7770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r Verbinder 44">
                <a:extLst>
                  <a:ext uri="{FF2B5EF4-FFF2-40B4-BE49-F238E27FC236}">
                    <a16:creationId xmlns:a16="http://schemas.microsoft.com/office/drawing/2014/main" id="{C1D989FF-72AB-4BDF-AA3C-268FD6CD2F9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r Verbinder 45">
                <a:extLst>
                  <a:ext uri="{FF2B5EF4-FFF2-40B4-BE49-F238E27FC236}">
                    <a16:creationId xmlns:a16="http://schemas.microsoft.com/office/drawing/2014/main" id="{273A7EA9-C3F1-47F9-8F77-A1D86513384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59714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r Verbinder 46">
                <a:extLst>
                  <a:ext uri="{FF2B5EF4-FFF2-40B4-BE49-F238E27FC236}">
                    <a16:creationId xmlns:a16="http://schemas.microsoft.com/office/drawing/2014/main" id="{6782F21E-5A78-4443-AF02-25AB42A2328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74108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r Verbinder 47">
                <a:extLst>
                  <a:ext uri="{FF2B5EF4-FFF2-40B4-BE49-F238E27FC236}">
                    <a16:creationId xmlns:a16="http://schemas.microsoft.com/office/drawing/2014/main" id="{A3A6A6AF-C501-4FC3-A148-248458A48A3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72707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r Verbinder 48">
                <a:extLst>
                  <a:ext uri="{FF2B5EF4-FFF2-40B4-BE49-F238E27FC236}">
                    <a16:creationId xmlns:a16="http://schemas.microsoft.com/office/drawing/2014/main" id="{0AE0D609-F712-400A-AA97-5959C9A1044A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871006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r Verbinder 49">
                <a:extLst>
                  <a:ext uri="{FF2B5EF4-FFF2-40B4-BE49-F238E27FC236}">
                    <a16:creationId xmlns:a16="http://schemas.microsoft.com/office/drawing/2014/main" id="{E96CFA70-9E07-476D-ACE4-711DC1ABFA4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14406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r Verbinder 50">
                <a:extLst>
                  <a:ext uri="{FF2B5EF4-FFF2-40B4-BE49-F238E27FC236}">
                    <a16:creationId xmlns:a16="http://schemas.microsoft.com/office/drawing/2014/main" id="{275362B2-4F95-40CA-B9F2-309DC7D39F2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00011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r Verbinder 51">
                <a:extLst>
                  <a:ext uri="{FF2B5EF4-FFF2-40B4-BE49-F238E27FC236}">
                    <a16:creationId xmlns:a16="http://schemas.microsoft.com/office/drawing/2014/main" id="{BE0F38B1-5D62-40C3-93BB-0D5CBB229D4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2082275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r Verbinder 52">
                <a:extLst>
                  <a:ext uri="{FF2B5EF4-FFF2-40B4-BE49-F238E27FC236}">
                    <a16:creationId xmlns:a16="http://schemas.microsoft.com/office/drawing/2014/main" id="{0B50C20D-3619-4991-B79C-87A4E8D1AFC7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93833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r Verbinder 53">
                <a:extLst>
                  <a:ext uri="{FF2B5EF4-FFF2-40B4-BE49-F238E27FC236}">
                    <a16:creationId xmlns:a16="http://schemas.microsoft.com/office/drawing/2014/main" id="{490DDD01-440A-49F2-B1AA-EB9C2FC7E4E5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474502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80" name="Rectangle 30">
            <a:extLst>
              <a:ext uri="{FF2B5EF4-FFF2-40B4-BE49-F238E27FC236}">
                <a16:creationId xmlns:a16="http://schemas.microsoft.com/office/drawing/2014/main" id="{3A34CE00-6105-4C26-8776-51A41878B8EF}"/>
              </a:ext>
            </a:extLst>
          </p:cNvPr>
          <p:cNvSpPr/>
          <p:nvPr userDrawn="1"/>
        </p:nvSpPr>
        <p:spPr bwMode="ltGray">
          <a:xfrm>
            <a:off x="0" y="4796849"/>
            <a:ext cx="11641138" cy="2061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90CDAAF-A2CF-4F51-9A50-4103E1904180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557149" y="3605551"/>
            <a:ext cx="6546963" cy="2735092"/>
          </a:xfrm>
          <a:solidFill>
            <a:schemeClr val="bg1"/>
          </a:solidFill>
        </p:spPr>
        <p:txBody>
          <a:bodyPr vert="horz" wrap="square" lIns="648000" tIns="720000" rIns="648000" bIns="1440000" anchor="b">
            <a:spAutoFit/>
          </a:bodyPr>
          <a:lstStyle>
            <a:lvl1pPr algn="l" rtl="0">
              <a:defRPr sz="4000"/>
            </a:lvl1pPr>
          </a:lstStyle>
          <a:p>
            <a:r>
              <a:rPr lang="en-US" err="1"/>
              <a:t>Titel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C9FDCDF-56F9-4949-B92D-75EEC349EDA7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7149" y="5046485"/>
            <a:ext cx="6546963" cy="1294157"/>
          </a:xfrm>
        </p:spPr>
        <p:txBody>
          <a:bodyPr lIns="648000" tIns="216000" rIns="648000" b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pic>
        <p:nvPicPr>
          <p:cNvPr id="97" name="Grafik 96">
            <a:extLst>
              <a:ext uri="{FF2B5EF4-FFF2-40B4-BE49-F238E27FC236}">
                <a16:creationId xmlns:a16="http://schemas.microsoft.com/office/drawing/2014/main" id="{EAA753E3-1F1E-49C0-817D-90D32D15FC2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44272" y="5193198"/>
            <a:ext cx="2380666" cy="715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452807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ayout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8C73448-67BB-4374-B010-C26CD37404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541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8C73448-67BB-4374-B010-C26CD3740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A4DA651-6936-48F3-ACBE-CFE0B97E9E2F}"/>
              </a:ext>
            </a:extLst>
          </p:cNvPr>
          <p:cNvGrpSpPr/>
          <p:nvPr userDrawn="1"/>
        </p:nvGrpSpPr>
        <p:grpSpPr bwMode="gray">
          <a:xfrm>
            <a:off x="-93663" y="-163318"/>
            <a:ext cx="12408868" cy="7126208"/>
            <a:chOff x="-93663" y="-163318"/>
            <a:chExt cx="12408868" cy="7126208"/>
          </a:xfrm>
        </p:grpSpPr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D96192A8-A102-49D8-BCBF-8621258C00B8}"/>
                </a:ext>
              </a:extLst>
            </p:cNvPr>
            <p:cNvGrpSpPr/>
            <p:nvPr userDrawn="1"/>
          </p:nvGrpSpPr>
          <p:grpSpPr bwMode="gray">
            <a:xfrm>
              <a:off x="-93663" y="368300"/>
              <a:ext cx="68263" cy="5976938"/>
              <a:chOff x="-93663" y="368300"/>
              <a:chExt cx="68263" cy="5976938"/>
            </a:xfrm>
          </p:grpSpPr>
          <p:cxnSp>
            <p:nvCxnSpPr>
              <p:cNvPr id="73" name="Gerader Verbinder 72">
                <a:extLst>
                  <a:ext uri="{FF2B5EF4-FFF2-40B4-BE49-F238E27FC236}">
                    <a16:creationId xmlns:a16="http://schemas.microsoft.com/office/drawing/2014/main" id="{F17FCB6E-4527-4B46-8E1A-F84E649C422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8300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Gerader Verbinder 73">
                <a:extLst>
                  <a:ext uri="{FF2B5EF4-FFF2-40B4-BE49-F238E27FC236}">
                    <a16:creationId xmlns:a16="http://schemas.microsoft.com/office/drawing/2014/main" id="{43D68C80-3DAE-4B0C-9A18-619570AF0B7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090083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r Verbinder 74">
                <a:extLst>
                  <a:ext uri="{FF2B5EF4-FFF2-40B4-BE49-F238E27FC236}">
                    <a16:creationId xmlns:a16="http://schemas.microsoft.com/office/drawing/2014/main" id="{76B8BA71-27F6-45EE-820B-B11866C9EC4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449917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r Verbinder 75">
                <a:extLst>
                  <a:ext uri="{FF2B5EF4-FFF2-40B4-BE49-F238E27FC236}">
                    <a16:creationId xmlns:a16="http://schemas.microsoft.com/office/drawing/2014/main" id="{1E974837-9103-4D9B-86FB-9718950F6EA0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82428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r Verbinder 76">
                <a:extLst>
                  <a:ext uri="{FF2B5EF4-FFF2-40B4-BE49-F238E27FC236}">
                    <a16:creationId xmlns:a16="http://schemas.microsoft.com/office/drawing/2014/main" id="{E47FC3FD-6259-42A2-B019-4D0710B3F503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96822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r Verbinder 77">
                <a:extLst>
                  <a:ext uri="{FF2B5EF4-FFF2-40B4-BE49-F238E27FC236}">
                    <a16:creationId xmlns:a16="http://schemas.microsoft.com/office/drawing/2014/main" id="{D4C42C3A-E695-4053-9548-853662932B5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2194DC05-0BBA-4CA4-9180-769934326A38}"/>
                </a:ext>
              </a:extLst>
            </p:cNvPr>
            <p:cNvGrpSpPr/>
            <p:nvPr userDrawn="1"/>
          </p:nvGrpSpPr>
          <p:grpSpPr bwMode="gray">
            <a:xfrm>
              <a:off x="12246942" y="368300"/>
              <a:ext cx="68263" cy="5976938"/>
              <a:chOff x="-93663" y="368300"/>
              <a:chExt cx="68263" cy="5976938"/>
            </a:xfrm>
          </p:grpSpPr>
          <p:cxnSp>
            <p:nvCxnSpPr>
              <p:cNvPr id="67" name="Gerader Verbinder 66">
                <a:extLst>
                  <a:ext uri="{FF2B5EF4-FFF2-40B4-BE49-F238E27FC236}">
                    <a16:creationId xmlns:a16="http://schemas.microsoft.com/office/drawing/2014/main" id="{F09AC357-41AD-49FA-BC7B-8FD106F44CA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8300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Gerader Verbinder 67">
                <a:extLst>
                  <a:ext uri="{FF2B5EF4-FFF2-40B4-BE49-F238E27FC236}">
                    <a16:creationId xmlns:a16="http://schemas.microsoft.com/office/drawing/2014/main" id="{B90EAA19-E7D3-4D64-A51C-CE8EF5A7EC38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090083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Gerader Verbinder 68">
                <a:extLst>
                  <a:ext uri="{FF2B5EF4-FFF2-40B4-BE49-F238E27FC236}">
                    <a16:creationId xmlns:a16="http://schemas.microsoft.com/office/drawing/2014/main" id="{D5B9C429-89B8-4D22-BDB2-1E30C013757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449917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Gerader Verbinder 69">
                <a:extLst>
                  <a:ext uri="{FF2B5EF4-FFF2-40B4-BE49-F238E27FC236}">
                    <a16:creationId xmlns:a16="http://schemas.microsoft.com/office/drawing/2014/main" id="{DCF866D0-EAB9-4039-8936-43A80A72A7F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824923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Gerader Verbinder 70">
                <a:extLst>
                  <a:ext uri="{FF2B5EF4-FFF2-40B4-BE49-F238E27FC236}">
                    <a16:creationId xmlns:a16="http://schemas.microsoft.com/office/drawing/2014/main" id="{FB8E70AA-6186-438A-9FEB-064E094809AB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968857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Gerader Verbinder 71">
                <a:extLst>
                  <a:ext uri="{FF2B5EF4-FFF2-40B4-BE49-F238E27FC236}">
                    <a16:creationId xmlns:a16="http://schemas.microsoft.com/office/drawing/2014/main" id="{64F5416F-E200-463B-9226-FE20CCB73E2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F7DE1E80-98CE-4F89-AB26-93226F1E5952}"/>
                </a:ext>
              </a:extLst>
            </p:cNvPr>
            <p:cNvGrpSpPr/>
            <p:nvPr userDrawn="1"/>
          </p:nvGrpSpPr>
          <p:grpSpPr bwMode="gray">
            <a:xfrm rot="5400000">
              <a:off x="6061869" y="-5674316"/>
              <a:ext cx="68263" cy="11090260"/>
              <a:chOff x="-93663" y="-4745022"/>
              <a:chExt cx="68263" cy="11090260"/>
            </a:xfrm>
          </p:grpSpPr>
          <p:cxnSp>
            <p:nvCxnSpPr>
              <p:cNvPr id="55" name="Gerader Verbinder 54">
                <a:extLst>
                  <a:ext uri="{FF2B5EF4-FFF2-40B4-BE49-F238E27FC236}">
                    <a16:creationId xmlns:a16="http://schemas.microsoft.com/office/drawing/2014/main" id="{2FE11A10-7EBE-47AA-85DE-1F49490AD603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533774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r Verbinder 55">
                <a:extLst>
                  <a:ext uri="{FF2B5EF4-FFF2-40B4-BE49-F238E27FC236}">
                    <a16:creationId xmlns:a16="http://schemas.microsoft.com/office/drawing/2014/main" id="{1F34DEB0-5589-4656-91DF-26A91024832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7770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r Verbinder 56">
                <a:extLst>
                  <a:ext uri="{FF2B5EF4-FFF2-40B4-BE49-F238E27FC236}">
                    <a16:creationId xmlns:a16="http://schemas.microsoft.com/office/drawing/2014/main" id="{D7CEB9A8-4BF5-4083-B02F-026648BF40C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r Verbinder 57">
                <a:extLst>
                  <a:ext uri="{FF2B5EF4-FFF2-40B4-BE49-F238E27FC236}">
                    <a16:creationId xmlns:a16="http://schemas.microsoft.com/office/drawing/2014/main" id="{E220438A-1761-434D-9071-F33A9405773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59714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r Verbinder 58">
                <a:extLst>
                  <a:ext uri="{FF2B5EF4-FFF2-40B4-BE49-F238E27FC236}">
                    <a16:creationId xmlns:a16="http://schemas.microsoft.com/office/drawing/2014/main" id="{3B45D209-1413-41A7-A1B7-37C393C73BD0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74108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r Verbinder 59">
                <a:extLst>
                  <a:ext uri="{FF2B5EF4-FFF2-40B4-BE49-F238E27FC236}">
                    <a16:creationId xmlns:a16="http://schemas.microsoft.com/office/drawing/2014/main" id="{73779B7D-47CF-43C3-8E2C-35EDA37D8E9B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72707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r Verbinder 60">
                <a:extLst>
                  <a:ext uri="{FF2B5EF4-FFF2-40B4-BE49-F238E27FC236}">
                    <a16:creationId xmlns:a16="http://schemas.microsoft.com/office/drawing/2014/main" id="{0F54F4A6-E11D-4A62-9FD1-B2DE83C0982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871006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r Verbinder 61">
                <a:extLst>
                  <a:ext uri="{FF2B5EF4-FFF2-40B4-BE49-F238E27FC236}">
                    <a16:creationId xmlns:a16="http://schemas.microsoft.com/office/drawing/2014/main" id="{2C14E678-38B0-4481-AD13-9107352C064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14406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r Verbinder 62">
                <a:extLst>
                  <a:ext uri="{FF2B5EF4-FFF2-40B4-BE49-F238E27FC236}">
                    <a16:creationId xmlns:a16="http://schemas.microsoft.com/office/drawing/2014/main" id="{75553F70-2E25-4371-914B-E81CED31B0AB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00011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r Verbinder 63">
                <a:extLst>
                  <a:ext uri="{FF2B5EF4-FFF2-40B4-BE49-F238E27FC236}">
                    <a16:creationId xmlns:a16="http://schemas.microsoft.com/office/drawing/2014/main" id="{170708ED-B0EF-4E3E-876A-8E7B8272516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2082275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Gerader Verbinder 64">
                <a:extLst>
                  <a:ext uri="{FF2B5EF4-FFF2-40B4-BE49-F238E27FC236}">
                    <a16:creationId xmlns:a16="http://schemas.microsoft.com/office/drawing/2014/main" id="{023F619F-3D6E-40AD-812E-A79E3726D9D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93833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Gerader Verbinder 65">
                <a:extLst>
                  <a:ext uri="{FF2B5EF4-FFF2-40B4-BE49-F238E27FC236}">
                    <a16:creationId xmlns:a16="http://schemas.microsoft.com/office/drawing/2014/main" id="{FB6E71A0-84F1-4D95-822A-C7F0588ADF7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474502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0D8DB276-3F58-4E1D-80A0-68A6B2CEB541}"/>
                </a:ext>
              </a:extLst>
            </p:cNvPr>
            <p:cNvGrpSpPr/>
            <p:nvPr userDrawn="1"/>
          </p:nvGrpSpPr>
          <p:grpSpPr bwMode="gray">
            <a:xfrm rot="5400000">
              <a:off x="6061870" y="1383629"/>
              <a:ext cx="68263" cy="11090260"/>
              <a:chOff x="-93663" y="-4745022"/>
              <a:chExt cx="68263" cy="11090260"/>
            </a:xfrm>
          </p:grpSpPr>
          <p:cxnSp>
            <p:nvCxnSpPr>
              <p:cNvPr id="43" name="Gerader Verbinder 42">
                <a:extLst>
                  <a:ext uri="{FF2B5EF4-FFF2-40B4-BE49-F238E27FC236}">
                    <a16:creationId xmlns:a16="http://schemas.microsoft.com/office/drawing/2014/main" id="{609692D6-7A3C-41A7-BE16-B2C4A8A5B088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533774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r Verbinder 43">
                <a:extLst>
                  <a:ext uri="{FF2B5EF4-FFF2-40B4-BE49-F238E27FC236}">
                    <a16:creationId xmlns:a16="http://schemas.microsoft.com/office/drawing/2014/main" id="{2A827B20-75A0-4638-976F-36BF04105F1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7770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r Verbinder 44">
                <a:extLst>
                  <a:ext uri="{FF2B5EF4-FFF2-40B4-BE49-F238E27FC236}">
                    <a16:creationId xmlns:a16="http://schemas.microsoft.com/office/drawing/2014/main" id="{C1D989FF-72AB-4BDF-AA3C-268FD6CD2F9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r Verbinder 45">
                <a:extLst>
                  <a:ext uri="{FF2B5EF4-FFF2-40B4-BE49-F238E27FC236}">
                    <a16:creationId xmlns:a16="http://schemas.microsoft.com/office/drawing/2014/main" id="{273A7EA9-C3F1-47F9-8F77-A1D86513384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59714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r Verbinder 46">
                <a:extLst>
                  <a:ext uri="{FF2B5EF4-FFF2-40B4-BE49-F238E27FC236}">
                    <a16:creationId xmlns:a16="http://schemas.microsoft.com/office/drawing/2014/main" id="{6782F21E-5A78-4443-AF02-25AB42A2328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74108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r Verbinder 47">
                <a:extLst>
                  <a:ext uri="{FF2B5EF4-FFF2-40B4-BE49-F238E27FC236}">
                    <a16:creationId xmlns:a16="http://schemas.microsoft.com/office/drawing/2014/main" id="{A3A6A6AF-C501-4FC3-A148-248458A48A3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72707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r Verbinder 48">
                <a:extLst>
                  <a:ext uri="{FF2B5EF4-FFF2-40B4-BE49-F238E27FC236}">
                    <a16:creationId xmlns:a16="http://schemas.microsoft.com/office/drawing/2014/main" id="{0AE0D609-F712-400A-AA97-5959C9A1044A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871006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r Verbinder 49">
                <a:extLst>
                  <a:ext uri="{FF2B5EF4-FFF2-40B4-BE49-F238E27FC236}">
                    <a16:creationId xmlns:a16="http://schemas.microsoft.com/office/drawing/2014/main" id="{E96CFA70-9E07-476D-ACE4-711DC1ABFA4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14406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r Verbinder 50">
                <a:extLst>
                  <a:ext uri="{FF2B5EF4-FFF2-40B4-BE49-F238E27FC236}">
                    <a16:creationId xmlns:a16="http://schemas.microsoft.com/office/drawing/2014/main" id="{275362B2-4F95-40CA-B9F2-309DC7D39F2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00011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r Verbinder 51">
                <a:extLst>
                  <a:ext uri="{FF2B5EF4-FFF2-40B4-BE49-F238E27FC236}">
                    <a16:creationId xmlns:a16="http://schemas.microsoft.com/office/drawing/2014/main" id="{BE0F38B1-5D62-40C3-93BB-0D5CBB229D4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2082275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r Verbinder 52">
                <a:extLst>
                  <a:ext uri="{FF2B5EF4-FFF2-40B4-BE49-F238E27FC236}">
                    <a16:creationId xmlns:a16="http://schemas.microsoft.com/office/drawing/2014/main" id="{0B50C20D-3619-4991-B79C-87A4E8D1AFC7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93833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r Verbinder 53">
                <a:extLst>
                  <a:ext uri="{FF2B5EF4-FFF2-40B4-BE49-F238E27FC236}">
                    <a16:creationId xmlns:a16="http://schemas.microsoft.com/office/drawing/2014/main" id="{490DDD01-440A-49F2-B1AA-EB9C2FC7E4E5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474502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9" name="Datumsplatzhalter 6">
            <a:extLst>
              <a:ext uri="{FF2B5EF4-FFF2-40B4-BE49-F238E27FC236}">
                <a16:creationId xmlns:a16="http://schemas.microsoft.com/office/drawing/2014/main" id="{C7AFCB59-6283-44BD-9164-82799DE40AC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0456331" y="6980755"/>
            <a:ext cx="769781" cy="175612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pPr algn="r"/>
            <a:fld id="{65F9ECCF-49D5-46D1-A756-A7C83800ED77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81" name="Fußzeilenplatzhalter 7">
            <a:extLst>
              <a:ext uri="{FF2B5EF4-FFF2-40B4-BE49-F238E27FC236}">
                <a16:creationId xmlns:a16="http://schemas.microsoft.com/office/drawing/2014/main" id="{B3EE8972-EC3D-4516-A2EB-2BB3ADE63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040170" y="6980755"/>
            <a:ext cx="2416161" cy="175612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82" name="Foliennummernplatzhalter 8">
            <a:extLst>
              <a:ext uri="{FF2B5EF4-FFF2-40B4-BE49-F238E27FC236}">
                <a16:creationId xmlns:a16="http://schemas.microsoft.com/office/drawing/2014/main" id="{81713394-8783-4BA1-A36D-E597048A8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226113" y="6980755"/>
            <a:ext cx="413414" cy="175612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3" name="Rectangle 30">
            <a:extLst>
              <a:ext uri="{FF2B5EF4-FFF2-40B4-BE49-F238E27FC236}">
                <a16:creationId xmlns:a16="http://schemas.microsoft.com/office/drawing/2014/main" id="{C2705D29-4E1E-4FAC-8BB1-DF8C16BB2231}"/>
              </a:ext>
            </a:extLst>
          </p:cNvPr>
          <p:cNvSpPr/>
          <p:nvPr userDrawn="1"/>
        </p:nvSpPr>
        <p:spPr bwMode="ltGray">
          <a:xfrm>
            <a:off x="0" y="4796849"/>
            <a:ext cx="11641138" cy="20611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84" name="Titel 1">
            <a:extLst>
              <a:ext uri="{FF2B5EF4-FFF2-40B4-BE49-F238E27FC236}">
                <a16:creationId xmlns:a16="http://schemas.microsoft.com/office/drawing/2014/main" id="{50A8842B-2501-47B5-8B24-1C62155C53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57149" y="3605551"/>
            <a:ext cx="6546963" cy="2735092"/>
          </a:xfrm>
          <a:solidFill>
            <a:schemeClr val="bg1"/>
          </a:solidFill>
        </p:spPr>
        <p:txBody>
          <a:bodyPr vert="horz" wrap="square" lIns="648000" tIns="720000" rIns="648000" bIns="1440000" anchor="b">
            <a:spAutoFit/>
          </a:bodyPr>
          <a:lstStyle>
            <a:lvl1pPr algn="l" rtl="0">
              <a:defRPr sz="4000"/>
            </a:lvl1pPr>
          </a:lstStyle>
          <a:p>
            <a:r>
              <a:rPr lang="en-US" err="1"/>
              <a:t>Titel</a:t>
            </a:r>
            <a:endParaRPr lang="en-US"/>
          </a:p>
        </p:txBody>
      </p:sp>
      <p:sp>
        <p:nvSpPr>
          <p:cNvPr id="85" name="Untertitel 2">
            <a:extLst>
              <a:ext uri="{FF2B5EF4-FFF2-40B4-BE49-F238E27FC236}">
                <a16:creationId xmlns:a16="http://schemas.microsoft.com/office/drawing/2014/main" id="{FDD5C585-502A-4E60-B938-EE468C2A355C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7149" y="5046485"/>
            <a:ext cx="6546963" cy="1294157"/>
          </a:xfrm>
        </p:spPr>
        <p:txBody>
          <a:bodyPr lIns="648000" tIns="216000" rIns="648000" b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pic>
        <p:nvPicPr>
          <p:cNvPr id="86" name="Grafik 85">
            <a:extLst>
              <a:ext uri="{FF2B5EF4-FFF2-40B4-BE49-F238E27FC236}">
                <a16:creationId xmlns:a16="http://schemas.microsoft.com/office/drawing/2014/main" id="{038C893B-B139-4C43-BE5E-6BEB4CC5052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44272" y="5193198"/>
            <a:ext cx="2380666" cy="715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65025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0648F12-99DC-413B-A2B2-6ED5C003E7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0061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0648F12-99DC-413B-A2B2-6ED5C003E7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69C82FF-8DD9-43D2-A4A1-1BDAE82AD1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white">
          <a:xfrm>
            <a:off x="6167438" y="0"/>
            <a:ext cx="6024562" cy="6345238"/>
          </a:xfr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tile tx="0" ty="0" sx="66500" sy="66500" flip="none" algn="tr"/>
          </a:blipFill>
        </p:spPr>
        <p:txBody>
          <a:bodyPr lIns="576000" tIns="1440000" rIns="576000" bIns="360000"/>
          <a:lstStyle>
            <a:lvl1pPr marL="360000" indent="-360000" rtl="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+mj-lt"/>
              <a:buAutoNum type="arabicPeriod"/>
              <a:defRPr sz="2000"/>
            </a:lvl1pPr>
            <a:lvl2pPr marL="648000" indent="-252000" rt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+mj-lt"/>
              <a:buAutoNum type="alphaLcPeriod"/>
              <a:defRPr sz="1600"/>
            </a:lvl2pPr>
            <a:lvl3pPr marL="648000" indent="-252000" rt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+mj-lt"/>
              <a:buAutoNum type="alphaLcPeriod"/>
              <a:defRPr sz="1600" b="0">
                <a:solidFill>
                  <a:schemeClr val="tx1"/>
                </a:solidFill>
              </a:defRPr>
            </a:lvl3pPr>
            <a:lvl4pPr marL="648000" indent="-252000" rt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+mj-lt"/>
              <a:buAutoNum type="alphaLcPeriod"/>
              <a:defRPr sz="1600" b="0">
                <a:solidFill>
                  <a:schemeClr val="tx1"/>
                </a:solidFill>
              </a:defRPr>
            </a:lvl4pPr>
            <a:lvl5pPr marL="648000" indent="-252000" rt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+mj-lt"/>
              <a:buAutoNum type="alphaLcPeriod"/>
              <a:defRPr sz="1600" b="0">
                <a:solidFill>
                  <a:schemeClr val="tx1"/>
                </a:solidFill>
              </a:defRPr>
            </a:lvl5pPr>
            <a:lvl6pPr marL="648000" indent="-25200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+mj-lt"/>
              <a:buAutoNum type="alphaLcPeriod"/>
              <a:defRPr sz="1600" b="0">
                <a:solidFill>
                  <a:schemeClr val="tx1"/>
                </a:solidFill>
              </a:defRPr>
            </a:lvl6pPr>
            <a:lvl7pPr marL="648000" indent="-25200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+mj-lt"/>
              <a:buAutoNum type="alphaLcPeriod"/>
              <a:defRPr sz="1600" b="0">
                <a:solidFill>
                  <a:schemeClr val="tx1"/>
                </a:solidFill>
              </a:defRPr>
            </a:lvl7pPr>
            <a:lvl8pPr marL="648000" indent="-25200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+mj-lt"/>
              <a:buAutoNum type="alphaLcPeriod"/>
              <a:defRPr sz="1600" b="0">
                <a:solidFill>
                  <a:schemeClr val="tx1"/>
                </a:solidFill>
              </a:defRPr>
            </a:lvl8pPr>
            <a:lvl9pPr marL="648000" indent="-25200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+mj-lt"/>
              <a:buAutoNum type="alphaLcPeriod"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88641D9-B660-4021-8156-3AEBB2CCE13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F448EC44-437D-4A9A-967B-53D6FDBE8923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56D6102-066F-48E9-A3CF-EB215244E74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7DB0568-C0C3-4D57-9CBF-9EA36EB77C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5EEFF527-3733-4153-98DB-C4C876E336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50865" y="1089026"/>
            <a:ext cx="5473698" cy="2735262"/>
          </a:xfrm>
        </p:spPr>
        <p:txBody>
          <a:bodyPr vert="horz" tIns="288000"/>
          <a:lstStyle>
            <a:lvl1pPr rtl="0">
              <a:defRPr sz="8000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02674106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F87C3CD-CD91-4C18-9E79-4F1014EA4B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937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F87C3CD-CD91-4C18-9E79-4F1014EA4B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4B16D86B-E105-463B-A364-C44DBF7E24E0}"/>
              </a:ext>
            </a:extLst>
          </p:cNvPr>
          <p:cNvSpPr/>
          <p:nvPr userDrawn="1"/>
        </p:nvSpPr>
        <p:spPr bwMode="white">
          <a:xfrm>
            <a:off x="108000" y="0"/>
            <a:ext cx="12084000" cy="63452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CA728D52-747C-4B37-AEAF-A45BAC7994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0865" y="1449388"/>
            <a:ext cx="2665410" cy="996631"/>
          </a:xfrm>
        </p:spPr>
        <p:txBody>
          <a:bodyPr wrap="none" bIns="7200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C2FF6C-B3CC-44A7-9983-800662977E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0864" y="2446019"/>
            <a:ext cx="8281986" cy="2063099"/>
          </a:xfrm>
        </p:spPr>
        <p:txBody>
          <a:bodyPr vert="horz" wrap="square" tIns="72000"/>
          <a:lstStyle>
            <a:lvl1pPr rtl="0">
              <a:defRPr sz="6000"/>
            </a:lvl1pPr>
          </a:lstStyle>
          <a:p>
            <a:r>
              <a:rPr lang="en-US" sz="6000" b="1" err="1">
                <a:solidFill>
                  <a:schemeClr val="tx1"/>
                </a:solidFill>
              </a:rPr>
              <a:t>Kapiteltrenner</a:t>
            </a:r>
            <a:br>
              <a:rPr lang="en-US" sz="6000" b="1">
                <a:solidFill>
                  <a:schemeClr val="tx1"/>
                </a:solidFill>
              </a:rPr>
            </a:br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69C82FF-8DD9-43D2-A4A1-1BDAE82AD1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50864" y="4509120"/>
            <a:ext cx="8281986" cy="183611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88641D9-B660-4021-8156-3AEBB2CCE13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75B63BF2-6FA3-44A7-9143-70CF25704233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56D6102-066F-48E9-A3CF-EB215244E74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7DB0568-C0C3-4D57-9CBF-9EA36EB77C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9B5AAF98-604F-4DC4-85DF-D52E19F7E87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20413" y="346346"/>
            <a:ext cx="1258812" cy="378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620848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 layou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F40E168-FD4C-48AF-BD9C-D110BEA94C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6673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F40E168-FD4C-48AF-BD9C-D110BEA94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FB0F9B2-BD28-41F1-BEC0-66FECAD1B1D7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2CB513A8-0F2C-484B-B880-02FB55AA80AE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84F7FAD-1C99-496B-B3DC-1D99398C8D6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3A3C667-61DE-40A2-BF02-EF86775753F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1A09E5E0-494A-4962-B4E1-3E426403244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67438" y="1449388"/>
            <a:ext cx="5473700" cy="489585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12EF8F8B-A136-44C2-B169-25BEE00A8C2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0865" y="1449388"/>
            <a:ext cx="2665410" cy="996631"/>
          </a:xfrm>
        </p:spPr>
        <p:txBody>
          <a:bodyPr wrap="none" bIns="72000" anchor="b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NR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AC19E3E8-0F1B-4BE4-9B6D-4DCFEF9300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0864" y="2446019"/>
            <a:ext cx="5473699" cy="2063099"/>
          </a:xfrm>
        </p:spPr>
        <p:txBody>
          <a:bodyPr vert="horz" wrap="square" tIns="72000"/>
          <a:lstStyle>
            <a:lvl1pPr rtl="0">
              <a:defRPr sz="6000"/>
            </a:lvl1pPr>
          </a:lstStyle>
          <a:p>
            <a:r>
              <a:rPr lang="en-US" sz="6000" b="1" err="1">
                <a:solidFill>
                  <a:schemeClr val="tx1"/>
                </a:solidFill>
              </a:rPr>
              <a:t>Kapiteltrenner</a:t>
            </a:r>
            <a:br>
              <a:rPr lang="en-US" sz="6000" b="1">
                <a:solidFill>
                  <a:schemeClr val="tx1"/>
                </a:solidFill>
              </a:rPr>
            </a:br>
            <a:endParaRPr lang="en-US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0BE1B568-8C3F-456C-9556-AFBB0AB241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550864" y="4509120"/>
            <a:ext cx="5473699" cy="183611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</p:spTree>
    <p:extLst>
      <p:ext uri="{BB962C8B-B14F-4D97-AF65-F5344CB8AC3E}">
        <p14:creationId xmlns:p14="http://schemas.microsoft.com/office/powerpoint/2010/main" val="109392466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DEEFF40-A699-4D25-B41B-E1153E804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1849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DEEFF40-A699-4D25-B41B-E1153E804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Untertitel 2">
            <a:extLst>
              <a:ext uri="{FF2B5EF4-FFF2-40B4-BE49-F238E27FC236}">
                <a16:creationId xmlns:a16="http://schemas.microsoft.com/office/drawing/2014/main" id="{CA728D52-747C-4B37-AEAF-A45BAC7994FA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C2FF6C-B3CC-44A7-9983-800662977EF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5" y="368300"/>
            <a:ext cx="7345360" cy="39211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88641D9-B660-4021-8156-3AEBB2CCE13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3C7B7AB9-BB9D-4B8D-B2CF-47395E10D0EE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56D6102-066F-48E9-A3CF-EB215244E74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7DB0568-C0C3-4D57-9CBF-9EA36EB77C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416962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-line headlin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1F43471-03F4-44C1-B4E9-DFE8FE49BA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8006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1F43471-03F4-44C1-B4E9-DFE8FE49BA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EC2FF6C-B3CC-44A7-9983-800662977EF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5" y="368300"/>
            <a:ext cx="7345360" cy="39211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69C82FF-8DD9-43D2-A4A1-1BDAE82AD1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50863" y="1916832"/>
            <a:ext cx="11088663" cy="44284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88641D9-B660-4021-8156-3AEBB2CCE13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3C7B7AB9-BB9D-4B8D-B2CF-47395E10D0EE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56D6102-066F-48E9-A3CF-EB215244E74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7DB0568-C0C3-4D57-9CBF-9EA36EB77C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41B2ECA1-0268-4E57-9A92-D517B3FAAA9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1DA7B549-736E-456A-8462-6C4BF53304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50863" y="1449388"/>
            <a:ext cx="11088663" cy="467444"/>
          </a:xfrm>
        </p:spPr>
        <p:txBody>
          <a:bodyPr/>
          <a:lstStyle>
            <a:lvl1pPr marL="0" indent="0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Übersch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404393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1536D69-082E-44A3-9033-5528BE6D9F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3792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1536D69-082E-44A3-9033-5528BE6D9F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EC2FF6C-B3CC-44A7-9983-800662977EF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5" y="368301"/>
            <a:ext cx="7345360" cy="3921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69C82FF-8DD9-43D2-A4A1-1BDAE82AD1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50864" y="1916832"/>
            <a:ext cx="5473699" cy="44284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88641D9-B660-4021-8156-3AEBB2CCE13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FB8735B1-B602-440F-BAFD-54FDEA18C6FD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56D6102-066F-48E9-A3CF-EB215244E74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7DB0568-C0C3-4D57-9CBF-9EA36EB77C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499A5225-1533-448D-84F3-B57E2E5A0D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165828" y="1916832"/>
            <a:ext cx="5473699" cy="44284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7623528B-0329-455F-9FCE-25E0B28F5266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58902B80-683E-4191-BFE6-EBB2888658C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50864" y="1449388"/>
            <a:ext cx="5473700" cy="467444"/>
          </a:xfrm>
        </p:spPr>
        <p:txBody>
          <a:bodyPr/>
          <a:lstStyle>
            <a:lvl1pPr marL="0" indent="0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Überschrift</a:t>
            </a:r>
            <a:endParaRPr lang="en-US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6E0E2928-CC03-497E-AE41-120F2F690C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165828" y="1449388"/>
            <a:ext cx="5473700" cy="467444"/>
          </a:xfrm>
        </p:spPr>
        <p:txBody>
          <a:bodyPr/>
          <a:lstStyle>
            <a:lvl1pPr marL="0" indent="0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Übersch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99443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6580747-B423-4C58-983B-CDDA783CC4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46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D6580747-B423-4C58-983B-CDDA783CC4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>
            <a:extLst>
              <a:ext uri="{FF2B5EF4-FFF2-40B4-BE49-F238E27FC236}">
                <a16:creationId xmlns:a16="http://schemas.microsoft.com/office/drawing/2014/main" id="{4C8EBBA1-C346-4A45-9CA1-2DC73348D413}"/>
              </a:ext>
            </a:extLst>
          </p:cNvPr>
          <p:cNvSpPr/>
          <p:nvPr userDrawn="1"/>
        </p:nvSpPr>
        <p:spPr>
          <a:xfrm>
            <a:off x="3048000" y="406800"/>
            <a:ext cx="9144000" cy="320968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D138D499-48FB-4176-BB13-E50A098356A8}"/>
              </a:ext>
            </a:extLst>
          </p:cNvPr>
          <p:cNvSpPr/>
          <p:nvPr userDrawn="1"/>
        </p:nvSpPr>
        <p:spPr>
          <a:xfrm>
            <a:off x="-15241" y="406800"/>
            <a:ext cx="3063241" cy="32096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7B0B74-6DFF-4DDB-B8F7-E1BD509AE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6056" y="0"/>
            <a:ext cx="4140200" cy="40680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Chap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7E9AF5-CCC7-4DDD-9970-FE12F9847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302126"/>
            <a:ext cx="6024562" cy="1871660"/>
          </a:xfrm>
          <a:noFill/>
        </p:spPr>
        <p:txBody>
          <a:bodyPr vert="horz" lIns="1008000" tIns="72000" rIns="288000" anchor="ctr"/>
          <a:lstStyle>
            <a:lvl1pPr rtl="0">
              <a:defRPr sz="3600"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A7C50BDA-43D0-4CD6-808E-854FB8AA805C}"/>
              </a:ext>
            </a:extLst>
          </p:cNvPr>
          <p:cNvSpPr/>
          <p:nvPr/>
        </p:nvSpPr>
        <p:spPr>
          <a:xfrm>
            <a:off x="11452052" y="3616484"/>
            <a:ext cx="6848" cy="3360"/>
          </a:xfrm>
          <a:custGeom>
            <a:avLst/>
            <a:gdLst>
              <a:gd name="connsiteX0" fmla="*/ 0 w 6848"/>
              <a:gd name="connsiteY0" fmla="*/ 0 h 3360"/>
              <a:gd name="connsiteX1" fmla="*/ 3641 w 6848"/>
              <a:gd name="connsiteY1" fmla="*/ 3361 h 3360"/>
              <a:gd name="connsiteX2" fmla="*/ 6849 w 6848"/>
              <a:gd name="connsiteY2" fmla="*/ 0 h 3360"/>
              <a:gd name="connsiteX3" fmla="*/ 0 w 6848"/>
              <a:gd name="connsiteY3" fmla="*/ 0 h 3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48" h="3360">
                <a:moveTo>
                  <a:pt x="0" y="0"/>
                </a:moveTo>
                <a:lnTo>
                  <a:pt x="3641" y="3361"/>
                </a:lnTo>
                <a:lnTo>
                  <a:pt x="684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8C41"/>
          </a:solidFill>
          <a:ln w="12707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/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C77208CC-ECCB-4296-9504-8C9061EF30AA}"/>
              </a:ext>
            </a:extLst>
          </p:cNvPr>
          <p:cNvSpPr/>
          <p:nvPr/>
        </p:nvSpPr>
        <p:spPr>
          <a:xfrm>
            <a:off x="8127158" y="3612652"/>
            <a:ext cx="3793654" cy="2930128"/>
          </a:xfrm>
          <a:custGeom>
            <a:avLst/>
            <a:gdLst>
              <a:gd name="connsiteX0" fmla="*/ 3394103 w 3793654"/>
              <a:gd name="connsiteY0" fmla="*/ 779241 h 2924824"/>
              <a:gd name="connsiteX1" fmla="*/ 2198198 w 3793654"/>
              <a:gd name="connsiteY1" fmla="*/ 861724 h 2924824"/>
              <a:gd name="connsiteX2" fmla="*/ 2198057 w 3793654"/>
              <a:gd name="connsiteY2" fmla="*/ -184 h 2924824"/>
              <a:gd name="connsiteX3" fmla="*/ 1574342 w 3793654"/>
              <a:gd name="connsiteY3" fmla="*/ -184 h 2924824"/>
              <a:gd name="connsiteX4" fmla="*/ 1574727 w 3793654"/>
              <a:gd name="connsiteY4" fmla="*/ 1562641 h 2924824"/>
              <a:gd name="connsiteX5" fmla="*/ 2123394 w 3793654"/>
              <a:gd name="connsiteY5" fmla="*/ 1565281 h 2924824"/>
              <a:gd name="connsiteX6" fmla="*/ 2487107 w 3793654"/>
              <a:gd name="connsiteY6" fmla="*/ 1368008 h 2924824"/>
              <a:gd name="connsiteX7" fmla="*/ 3205382 w 3793654"/>
              <a:gd name="connsiteY7" fmla="*/ 1311088 h 2924824"/>
              <a:gd name="connsiteX8" fmla="*/ 2353344 w 3793654"/>
              <a:gd name="connsiteY8" fmla="*/ 1997082 h 2924824"/>
              <a:gd name="connsiteX9" fmla="*/ 1570445 w 3793654"/>
              <a:gd name="connsiteY9" fmla="*/ 2297709 h 2924824"/>
              <a:gd name="connsiteX10" fmla="*/ -72 w 3793654"/>
              <a:gd name="connsiteY10" fmla="*/ 2300696 h 2924824"/>
              <a:gd name="connsiteX11" fmla="*/ 1146 w 3793654"/>
              <a:gd name="connsiteY11" fmla="*/ 2924641 h 2924824"/>
              <a:gd name="connsiteX12" fmla="*/ 1571048 w 3793654"/>
              <a:gd name="connsiteY12" fmla="*/ 2921654 h 2924824"/>
              <a:gd name="connsiteX13" fmla="*/ 2753633 w 3793654"/>
              <a:gd name="connsiteY13" fmla="*/ 2462278 h 2924824"/>
              <a:gd name="connsiteX14" fmla="*/ 3574057 w 3793654"/>
              <a:gd name="connsiteY14" fmla="*/ 1797514 h 2924824"/>
              <a:gd name="connsiteX15" fmla="*/ 3781124 w 3793654"/>
              <a:gd name="connsiteY15" fmla="*/ 1220451 h 2924824"/>
              <a:gd name="connsiteX16" fmla="*/ 3394103 w 3793654"/>
              <a:gd name="connsiteY16" fmla="*/ 779241 h 2924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793654" h="2924824">
                <a:moveTo>
                  <a:pt x="3394103" y="779241"/>
                </a:moveTo>
                <a:cubicBezTo>
                  <a:pt x="3001981" y="634709"/>
                  <a:pt x="2566771" y="664721"/>
                  <a:pt x="2198198" y="861724"/>
                </a:cubicBezTo>
                <a:lnTo>
                  <a:pt x="2198057" y="-184"/>
                </a:lnTo>
                <a:lnTo>
                  <a:pt x="1574342" y="-184"/>
                </a:lnTo>
                <a:lnTo>
                  <a:pt x="1574727" y="1562641"/>
                </a:lnTo>
                <a:lnTo>
                  <a:pt x="2123394" y="1565281"/>
                </a:lnTo>
                <a:lnTo>
                  <a:pt x="2487107" y="1368008"/>
                </a:lnTo>
                <a:cubicBezTo>
                  <a:pt x="2686688" y="1259732"/>
                  <a:pt x="2990058" y="1244860"/>
                  <a:pt x="3205382" y="1311088"/>
                </a:cubicBezTo>
                <a:lnTo>
                  <a:pt x="2353344" y="1997082"/>
                </a:lnTo>
                <a:cubicBezTo>
                  <a:pt x="2143931" y="2190945"/>
                  <a:pt x="1855778" y="2297709"/>
                  <a:pt x="1570445" y="2297709"/>
                </a:cubicBezTo>
                <a:lnTo>
                  <a:pt x="-72" y="2300696"/>
                </a:lnTo>
                <a:lnTo>
                  <a:pt x="1146" y="2924641"/>
                </a:lnTo>
                <a:lnTo>
                  <a:pt x="1571048" y="2921654"/>
                </a:lnTo>
                <a:cubicBezTo>
                  <a:pt x="2008848" y="2922013"/>
                  <a:pt x="2430854" y="2758084"/>
                  <a:pt x="2753633" y="2462278"/>
                </a:cubicBezTo>
                <a:lnTo>
                  <a:pt x="3574057" y="1797514"/>
                </a:lnTo>
                <a:cubicBezTo>
                  <a:pt x="3746318" y="1659559"/>
                  <a:pt x="3826378" y="1436466"/>
                  <a:pt x="3781124" y="1220451"/>
                </a:cubicBezTo>
                <a:cubicBezTo>
                  <a:pt x="3740036" y="1016410"/>
                  <a:pt x="3589415" y="851109"/>
                  <a:pt x="3394103" y="779241"/>
                </a:cubicBezTo>
                <a:close/>
              </a:path>
            </a:pathLst>
          </a:custGeom>
          <a:solidFill>
            <a:schemeClr val="accent3"/>
          </a:solidFill>
          <a:ln w="12807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/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1B758D2-5BF3-4C22-8C15-C61D30B9C802}"/>
              </a:ext>
            </a:extLst>
          </p:cNvPr>
          <p:cNvSpPr/>
          <p:nvPr/>
        </p:nvSpPr>
        <p:spPr>
          <a:xfrm>
            <a:off x="6186277" y="1216644"/>
            <a:ext cx="623058" cy="2399840"/>
          </a:xfrm>
          <a:custGeom>
            <a:avLst/>
            <a:gdLst>
              <a:gd name="connsiteX0" fmla="*/ 622987 w 623058"/>
              <a:gd name="connsiteY0" fmla="*/ 2403832 h 2404015"/>
              <a:gd name="connsiteX1" fmla="*/ 622987 w 623058"/>
              <a:gd name="connsiteY1" fmla="*/ 301994 h 2404015"/>
              <a:gd name="connsiteX2" fmla="*/ 311438 w 623058"/>
              <a:gd name="connsiteY2" fmla="*/ -184 h 2404015"/>
              <a:gd name="connsiteX3" fmla="*/ -72 w 623058"/>
              <a:gd name="connsiteY3" fmla="*/ 301994 h 2404015"/>
              <a:gd name="connsiteX4" fmla="*/ -72 w 623058"/>
              <a:gd name="connsiteY4" fmla="*/ 2403832 h 2404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3058" h="2404015">
                <a:moveTo>
                  <a:pt x="622987" y="2403832"/>
                </a:moveTo>
                <a:lnTo>
                  <a:pt x="622987" y="301994"/>
                </a:lnTo>
                <a:cubicBezTo>
                  <a:pt x="622987" y="135092"/>
                  <a:pt x="483493" y="-184"/>
                  <a:pt x="311438" y="-184"/>
                </a:cubicBezTo>
                <a:cubicBezTo>
                  <a:pt x="139382" y="-184"/>
                  <a:pt x="-72" y="135092"/>
                  <a:pt x="-72" y="301994"/>
                </a:cubicBezTo>
                <a:lnTo>
                  <a:pt x="-72" y="2403832"/>
                </a:lnTo>
                <a:close/>
              </a:path>
            </a:pathLst>
          </a:custGeom>
          <a:solidFill>
            <a:schemeClr val="accent5"/>
          </a:solidFill>
          <a:ln w="12807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1BA2E8A2-C95D-4771-B232-063D229EA31E}"/>
              </a:ext>
            </a:extLst>
          </p:cNvPr>
          <p:cNvSpPr/>
          <p:nvPr/>
        </p:nvSpPr>
        <p:spPr>
          <a:xfrm>
            <a:off x="7355450" y="840366"/>
            <a:ext cx="623906" cy="2776118"/>
          </a:xfrm>
          <a:custGeom>
            <a:avLst/>
            <a:gdLst>
              <a:gd name="connsiteX0" fmla="*/ 623835 w 623906"/>
              <a:gd name="connsiteY0" fmla="*/ 2781238 h 2781421"/>
              <a:gd name="connsiteX1" fmla="*/ 623835 w 623906"/>
              <a:gd name="connsiteY1" fmla="*/ 302405 h 2781421"/>
              <a:gd name="connsiteX2" fmla="*/ 311901 w 623906"/>
              <a:gd name="connsiteY2" fmla="*/ -184 h 2781421"/>
              <a:gd name="connsiteX3" fmla="*/ -72 w 623906"/>
              <a:gd name="connsiteY3" fmla="*/ 302405 h 2781421"/>
              <a:gd name="connsiteX4" fmla="*/ -72 w 623906"/>
              <a:gd name="connsiteY4" fmla="*/ 2781238 h 278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3906" h="2781421">
                <a:moveTo>
                  <a:pt x="623835" y="2781238"/>
                </a:moveTo>
                <a:lnTo>
                  <a:pt x="623835" y="302405"/>
                </a:lnTo>
                <a:cubicBezTo>
                  <a:pt x="623835" y="135258"/>
                  <a:pt x="484201" y="-184"/>
                  <a:pt x="311901" y="-184"/>
                </a:cubicBezTo>
                <a:cubicBezTo>
                  <a:pt x="139627" y="-184"/>
                  <a:pt x="-72" y="135258"/>
                  <a:pt x="-72" y="302405"/>
                </a:cubicBezTo>
                <a:lnTo>
                  <a:pt x="-72" y="2781238"/>
                </a:lnTo>
                <a:close/>
              </a:path>
            </a:pathLst>
          </a:custGeom>
          <a:solidFill>
            <a:schemeClr val="accent5"/>
          </a:solidFill>
          <a:ln w="12807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/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678E168F-93AD-48F9-B9B0-F27CA136FD48}"/>
              </a:ext>
            </a:extLst>
          </p:cNvPr>
          <p:cNvSpPr/>
          <p:nvPr/>
        </p:nvSpPr>
        <p:spPr>
          <a:xfrm>
            <a:off x="8528126" y="567717"/>
            <a:ext cx="623893" cy="3048767"/>
          </a:xfrm>
          <a:custGeom>
            <a:avLst/>
            <a:gdLst>
              <a:gd name="connsiteX0" fmla="*/ 623822 w 623893"/>
              <a:gd name="connsiteY0" fmla="*/ 3053887 h 3054070"/>
              <a:gd name="connsiteX1" fmla="*/ 623822 w 623893"/>
              <a:gd name="connsiteY1" fmla="*/ 312771 h 3054070"/>
              <a:gd name="connsiteX2" fmla="*/ 332593 w 623893"/>
              <a:gd name="connsiteY2" fmla="*/ 465 h 3054070"/>
              <a:gd name="connsiteX3" fmla="*/ -72 w 623893"/>
              <a:gd name="connsiteY3" fmla="*/ 302425 h 3054070"/>
              <a:gd name="connsiteX4" fmla="*/ -72 w 623893"/>
              <a:gd name="connsiteY4" fmla="*/ 3053887 h 305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3893" h="3054070">
                <a:moveTo>
                  <a:pt x="623822" y="3053887"/>
                </a:moveTo>
                <a:lnTo>
                  <a:pt x="623822" y="312771"/>
                </a:lnTo>
                <a:cubicBezTo>
                  <a:pt x="623733" y="148381"/>
                  <a:pt x="496585" y="12016"/>
                  <a:pt x="332593" y="465"/>
                </a:cubicBezTo>
                <a:cubicBezTo>
                  <a:pt x="150896" y="-10906"/>
                  <a:pt x="-72" y="128626"/>
                  <a:pt x="-72" y="302425"/>
                </a:cubicBezTo>
                <a:lnTo>
                  <a:pt x="-72" y="3053887"/>
                </a:lnTo>
                <a:close/>
              </a:path>
            </a:pathLst>
          </a:custGeom>
          <a:solidFill>
            <a:schemeClr val="accent5"/>
          </a:solidFill>
          <a:ln w="12807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/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63377C7B-20B5-46FF-9B87-59116489511D}"/>
              </a:ext>
            </a:extLst>
          </p:cNvPr>
          <p:cNvSpPr/>
          <p:nvPr/>
        </p:nvSpPr>
        <p:spPr>
          <a:xfrm>
            <a:off x="9700918" y="836534"/>
            <a:ext cx="624355" cy="2779950"/>
          </a:xfrm>
          <a:custGeom>
            <a:avLst/>
            <a:gdLst>
              <a:gd name="connsiteX0" fmla="*/ 624284 w 624355"/>
              <a:gd name="connsiteY0" fmla="*/ 2781238 h 2781421"/>
              <a:gd name="connsiteX1" fmla="*/ 623835 w 624355"/>
              <a:gd name="connsiteY1" fmla="*/ 302405 h 2781421"/>
              <a:gd name="connsiteX2" fmla="*/ 311876 w 624355"/>
              <a:gd name="connsiteY2" fmla="*/ -184 h 2781421"/>
              <a:gd name="connsiteX3" fmla="*/ -72 w 624355"/>
              <a:gd name="connsiteY3" fmla="*/ 302405 h 2781421"/>
              <a:gd name="connsiteX4" fmla="*/ 557 w 624355"/>
              <a:gd name="connsiteY4" fmla="*/ 2781238 h 278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4355" h="2781421">
                <a:moveTo>
                  <a:pt x="624284" y="2781238"/>
                </a:moveTo>
                <a:lnTo>
                  <a:pt x="623835" y="302405"/>
                </a:lnTo>
                <a:cubicBezTo>
                  <a:pt x="623835" y="135258"/>
                  <a:pt x="484137" y="-184"/>
                  <a:pt x="311876" y="-184"/>
                </a:cubicBezTo>
                <a:cubicBezTo>
                  <a:pt x="139550" y="-184"/>
                  <a:pt x="-72" y="135258"/>
                  <a:pt x="-72" y="302405"/>
                </a:cubicBezTo>
                <a:lnTo>
                  <a:pt x="557" y="2781238"/>
                </a:lnTo>
                <a:close/>
              </a:path>
            </a:pathLst>
          </a:custGeom>
          <a:solidFill>
            <a:schemeClr val="accent5"/>
          </a:solidFill>
          <a:ln w="12807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/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48C29AD9-520A-4B02-88AF-22F27C4C679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8626" y="95400"/>
            <a:ext cx="216000" cy="216000"/>
          </a:xfrm>
          <a:noFill/>
        </p:spPr>
        <p:txBody>
          <a:bodyPr vert="horz" lIns="0" tIns="0" rIns="0" bIns="0" rtlCol="0" anchor="ctr"/>
          <a:lstStyle>
            <a:lvl1pPr marL="0" indent="0" algn="l" rtl="0">
              <a:lnSpc>
                <a:spcPct val="100000"/>
              </a:lnSpc>
              <a:buNone/>
              <a:defRPr lang="en-US" sz="1000" dirty="0">
                <a:solidFill>
                  <a:schemeClr val="tx1"/>
                </a:solidFill>
              </a:defRPr>
            </a:lvl1pPr>
          </a:lstStyle>
          <a:p>
            <a:pPr marL="0" lvl="0" algn="ctr"/>
            <a:r>
              <a:rPr lang="en-US"/>
              <a:t>Mastertextformat bearbeite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D66C380-C2B0-42D4-BBA1-3619B4AB138F}"/>
              </a:ext>
            </a:extLst>
          </p:cNvPr>
          <p:cNvSpPr/>
          <p:nvPr userDrawn="1"/>
        </p:nvSpPr>
        <p:spPr>
          <a:xfrm>
            <a:off x="11469915" y="6324599"/>
            <a:ext cx="449035" cy="187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l" rtl="0">
              <a:lnSpc>
                <a:spcPct val="12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7" name="Rectangle 15">
            <a:extLst>
              <a:ext uri="{FF2B5EF4-FFF2-40B4-BE49-F238E27FC236}">
                <a16:creationId xmlns:a16="http://schemas.microsoft.com/office/drawing/2014/main" id="{E8B876CB-6B8D-4F50-9024-8722C1A1BBBB}"/>
              </a:ext>
            </a:extLst>
          </p:cNvPr>
          <p:cNvSpPr/>
          <p:nvPr userDrawn="1"/>
        </p:nvSpPr>
        <p:spPr>
          <a:xfrm>
            <a:off x="706056" y="-695325"/>
            <a:ext cx="2540900" cy="525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Alternative dividers</a:t>
            </a:r>
          </a:p>
        </p:txBody>
      </p:sp>
    </p:spTree>
    <p:extLst>
      <p:ext uri="{BB962C8B-B14F-4D97-AF65-F5344CB8AC3E}">
        <p14:creationId xmlns:p14="http://schemas.microsoft.com/office/powerpoint/2010/main" val="274372127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7073B93-49DF-4478-867C-3EA92F22E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7164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7073B93-49DF-4478-867C-3EA92F22E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EC2FF6C-B3CC-44A7-9983-800662977EF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5" y="368301"/>
            <a:ext cx="7345360" cy="39211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69C82FF-8DD9-43D2-A4A1-1BDAE82AD1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50864" y="1916832"/>
            <a:ext cx="3600449" cy="44284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88641D9-B660-4021-8156-3AEBB2CCE13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03D048AA-6468-4E9C-9AF8-B0D72CBC2D23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56D6102-066F-48E9-A3CF-EB215244E74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7DB0568-C0C3-4D57-9CBF-9EA36EB77C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499A5225-1533-448D-84F3-B57E2E5A0D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295776" y="1916832"/>
            <a:ext cx="3600449" cy="44284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75B815F5-B863-4250-A96C-552EFBB910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8046948" y="1916832"/>
            <a:ext cx="3600449" cy="442840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55B17BA4-18AB-46B4-8825-5463EEB7B86D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B18796B2-B995-466E-93CF-3F0C0566B7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50864" y="1449388"/>
            <a:ext cx="3600449" cy="467444"/>
          </a:xfrm>
        </p:spPr>
        <p:txBody>
          <a:bodyPr/>
          <a:lstStyle>
            <a:lvl1pPr marL="0" indent="0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Überschrift</a:t>
            </a:r>
            <a:endParaRPr lang="en-US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52B71C23-B2B8-4317-BD98-3D7C25FFF1B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295776" y="1449388"/>
            <a:ext cx="3600449" cy="467444"/>
          </a:xfrm>
        </p:spPr>
        <p:txBody>
          <a:bodyPr/>
          <a:lstStyle>
            <a:lvl1pPr marL="0" indent="0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Überschrift</a:t>
            </a:r>
            <a:endParaRPr lang="en-US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6996964A-CB4B-48BC-8451-1D7112EEC4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046948" y="1449388"/>
            <a:ext cx="3600449" cy="467444"/>
          </a:xfrm>
        </p:spPr>
        <p:txBody>
          <a:bodyPr/>
          <a:lstStyle>
            <a:lvl1pPr marL="0" indent="0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Übersch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40283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884BC2D-D6DB-4790-8C22-B4989FB1CA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5138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884BC2D-D6DB-4790-8C22-B4989FB1CA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070DA7B-83AF-4823-B8FA-263431C7B12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4" y="368301"/>
            <a:ext cx="7345362" cy="39211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B1F6F38-3F66-4D8A-8D78-5453C060F1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8040688" y="1449388"/>
            <a:ext cx="3600450" cy="489585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255800C-E5B1-48FF-A39B-36B9AEC9D4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50863" y="1449388"/>
            <a:ext cx="7345362" cy="48958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CDBFD36-893B-4F5D-B769-251F8EB27134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A4760E39-B92A-40BF-A06E-943270717369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26D8261-31E1-49E9-A5DF-FA184DFFC6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A402B41B-C536-4D0B-91C1-7091FAFEF8D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FB29B07-23D6-4942-BDDB-DFD3AD5E5949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695027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layout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F01DE29-CECE-41C5-A578-7DAA76985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4771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F01DE29-CECE-41C5-A578-7DAA76985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070DA7B-83AF-4823-B8FA-263431C7B12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4" y="368301"/>
            <a:ext cx="7345362" cy="39211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255800C-E5B1-48FF-A39B-36B9AEC9D4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50863" y="1449388"/>
            <a:ext cx="5473700" cy="48958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FB0F9B2-BD28-41F1-BEC0-66FECAD1B1D7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AD2CB664-D8D4-4CB9-B9F7-130CE46D5CEE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84F7FAD-1C99-496B-B3DC-1D99398C8D6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3A3C667-61DE-40A2-BF02-EF86775753F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1A09E5E0-494A-4962-B4E1-3E426403244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67438" y="1449388"/>
            <a:ext cx="5473700" cy="489585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br>
              <a:rPr lang="en-US"/>
            </a:b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</a:t>
            </a:r>
            <a:br>
              <a:rPr lang="en-US"/>
            </a:br>
            <a:r>
              <a:rPr lang="en-US"/>
              <a:t>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F6011393-4D83-4DD0-92A0-B22C9CA149CE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984586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layou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3472447-DCBA-4D01-B9A6-3B4862E12E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164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3472447-DCBA-4D01-B9A6-3B4862E12E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070DA7B-83AF-4823-B8FA-263431C7B12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4" y="368301"/>
            <a:ext cx="7345362" cy="3921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255800C-E5B1-48FF-A39B-36B9AEC9D4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50863" y="1449388"/>
            <a:ext cx="3600450" cy="48958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13D417D-90BA-4E17-A45B-0F43C1E9315C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70544F46-902A-4F33-BC35-14002B6593B5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87D14A35-54E8-4E88-B02B-1A21EE1E493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4C6BA6EE-F923-437A-90C9-B7E279A7E71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30FED75A-107A-4BA2-A166-C1760D53672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295775" y="1449388"/>
            <a:ext cx="7345363" cy="489585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br>
              <a:rPr lang="en-US"/>
            </a:b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</a:t>
            </a:r>
            <a:br>
              <a:rPr lang="en-US"/>
            </a:br>
            <a:r>
              <a:rPr lang="en-US"/>
              <a:t>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037924A-FEC7-49C0-9172-02344E3E1F72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466745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and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0A23B3C-2B06-4901-B323-29E0FCBEE1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914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0A23B3C-2B06-4901-B323-29E0FCBEE1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070DA7B-83AF-4823-B8FA-263431C7B12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4" y="368300"/>
            <a:ext cx="7345362" cy="3921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255800C-E5B1-48FF-A39B-36B9AEC9D4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50862" y="3970337"/>
            <a:ext cx="5473699" cy="23749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F3F1FA3F-24AB-41DA-B1E6-0CB9E620D8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167437" y="3970337"/>
            <a:ext cx="5473699" cy="23749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5E1658D-DEE9-457A-8E24-6225DE6CCC2E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E6DEA1B3-13D5-4725-9E10-22B4F0FCCA01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2B7CF26F-6B9D-41FC-B267-02B1A1E98C1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0091B11A-CEDA-4076-B3F5-A670A52298A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7A080A12-A5DD-4ECF-B635-A3159C84495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50863" y="1449388"/>
            <a:ext cx="5472090" cy="237490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br>
              <a:rPr lang="en-US"/>
            </a:b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</a:t>
            </a:r>
            <a:br>
              <a:rPr lang="en-US"/>
            </a:br>
            <a:r>
              <a:rPr lang="en-US"/>
              <a:t>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378E9776-D97F-4590-9277-D11CC369C37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167438" y="1449388"/>
            <a:ext cx="5472089" cy="237490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br>
              <a:rPr lang="en-US"/>
            </a:b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</a:t>
            </a:r>
            <a:br>
              <a:rPr lang="en-US"/>
            </a:br>
            <a:r>
              <a:rPr lang="en-US"/>
              <a:t>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D5CBED9C-0CCF-4850-AFAA-68CC3AA8D219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574322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and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A8C003E-1ACD-4B73-8593-EA4182CEE6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5877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A8C003E-1ACD-4B73-8593-EA4182CEE6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070DA7B-83AF-4823-B8FA-263431C7B12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4" y="368300"/>
            <a:ext cx="7345362" cy="3921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255800C-E5B1-48FF-A39B-36B9AEC9D4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50863" y="3968750"/>
            <a:ext cx="3600450" cy="2376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F3F1FA3F-24AB-41DA-B1E6-0CB9E620D8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295775" y="3968750"/>
            <a:ext cx="3600450" cy="2376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4CA41CE7-C91E-4147-A12A-822166E6061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8040688" y="3968750"/>
            <a:ext cx="3600450" cy="2376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65E4DDEC-1AC4-4259-BB54-EB40FBDAC544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D55FFD51-C427-4AEF-91CF-3F8746F0F6EF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B047E058-BA9B-4DAA-9098-0427EAEDE48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78D08D14-13DC-4C47-881E-1D559DB2551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9" name="Bildplatzhalter 6">
            <a:extLst>
              <a:ext uri="{FF2B5EF4-FFF2-40B4-BE49-F238E27FC236}">
                <a16:creationId xmlns:a16="http://schemas.microsoft.com/office/drawing/2014/main" id="{5B128760-CF1A-4723-AA28-A2A09B223DC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50863" y="1449388"/>
            <a:ext cx="3600450" cy="237490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4A2BE166-1CF8-40B4-9C32-C01844FFE60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4295775" y="1449388"/>
            <a:ext cx="3600450" cy="237490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9117B4D6-65CD-48E5-93E3-15BAA42DD7E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8039077" y="1449388"/>
            <a:ext cx="3600450" cy="237490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2D55DE0A-6932-4BC6-BF37-21060F009FFF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748547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3 pictur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D158B0A-88A6-4164-8ABC-701DD14EE9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3610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D158B0A-88A6-4164-8ABC-701DD14EE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070DA7B-83AF-4823-B8FA-263431C7B12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4" y="368300"/>
            <a:ext cx="7345362" cy="3921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255800C-E5B1-48FF-A39B-36B9AEC9D4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3440749"/>
            <a:ext cx="3600450" cy="383539"/>
          </a:xfrm>
        </p:spPr>
        <p:txBody>
          <a:bodyPr tIns="72000"/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Bildunterschrift</a:t>
            </a:r>
            <a:endParaRPr lang="en-US"/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F3F1FA3F-24AB-41DA-B1E6-0CB9E620D8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95775" y="3440749"/>
            <a:ext cx="3600450" cy="383539"/>
          </a:xfrm>
        </p:spPr>
        <p:txBody>
          <a:bodyPr tIns="72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Bildunterschrift</a:t>
            </a:r>
            <a:endParaRPr lang="en-US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4CA41CE7-C91E-4147-A12A-822166E606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040688" y="3440749"/>
            <a:ext cx="3600450" cy="383539"/>
          </a:xfrm>
        </p:spPr>
        <p:txBody>
          <a:bodyPr tIns="72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Bildunterschrift</a:t>
            </a:r>
            <a:endParaRPr lang="en-US"/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65E4DDEC-1AC4-4259-BB54-EB40FBDAC544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BE618CEB-4E9A-4DDC-9EE1-69C85065BAFC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B047E058-BA9B-4DAA-9098-0427EAEDE48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78D08D14-13DC-4C47-881E-1D559DB2551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9" name="Bildplatzhalter 6">
            <a:extLst>
              <a:ext uri="{FF2B5EF4-FFF2-40B4-BE49-F238E27FC236}">
                <a16:creationId xmlns:a16="http://schemas.microsoft.com/office/drawing/2014/main" id="{5B128760-CF1A-4723-AA28-A2A09B223DC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50862" y="1449389"/>
            <a:ext cx="3600451" cy="199136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4A2BE166-1CF8-40B4-9C32-C01844FFE60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4295775" y="1449389"/>
            <a:ext cx="3600450" cy="199136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9117B4D6-65CD-48E5-93E3-15BAA42DD7E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8040687" y="1449389"/>
            <a:ext cx="3600451" cy="199136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28" name="Textplatzhalter 8">
            <a:extLst>
              <a:ext uri="{FF2B5EF4-FFF2-40B4-BE49-F238E27FC236}">
                <a16:creationId xmlns:a16="http://schemas.microsoft.com/office/drawing/2014/main" id="{68244571-1DE0-4A2D-AF37-94196A91412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50863" y="5960110"/>
            <a:ext cx="3600450" cy="383539"/>
          </a:xfrm>
        </p:spPr>
        <p:txBody>
          <a:bodyPr tIns="72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Bildunterschrift</a:t>
            </a:r>
            <a:endParaRPr lang="en-US"/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D54419E8-2260-45BE-B642-6DBD5A02A7A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295775" y="5960110"/>
            <a:ext cx="3600450" cy="383539"/>
          </a:xfrm>
        </p:spPr>
        <p:txBody>
          <a:bodyPr tIns="72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Bildunterschrift</a:t>
            </a:r>
            <a:endParaRPr lang="en-US"/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BEA41140-2F95-47A6-B589-775AE1509C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8040688" y="5960110"/>
            <a:ext cx="3600450" cy="383539"/>
          </a:xfrm>
        </p:spPr>
        <p:txBody>
          <a:bodyPr tIns="72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err="1"/>
              <a:t>Bildunterschrift</a:t>
            </a:r>
            <a:endParaRPr lang="en-US"/>
          </a:p>
        </p:txBody>
      </p:sp>
      <p:sp>
        <p:nvSpPr>
          <p:cNvPr id="31" name="Bildplatzhalter 6">
            <a:extLst>
              <a:ext uri="{FF2B5EF4-FFF2-40B4-BE49-F238E27FC236}">
                <a16:creationId xmlns:a16="http://schemas.microsoft.com/office/drawing/2014/main" id="{3EA3A683-DA01-4BE9-B52D-D132EB250AA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550862" y="3968750"/>
            <a:ext cx="3600451" cy="199136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32" name="Bildplatzhalter 6">
            <a:extLst>
              <a:ext uri="{FF2B5EF4-FFF2-40B4-BE49-F238E27FC236}">
                <a16:creationId xmlns:a16="http://schemas.microsoft.com/office/drawing/2014/main" id="{64217FD4-1552-45F9-AC49-42A810D693E6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295775" y="3968750"/>
            <a:ext cx="3600450" cy="199136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33" name="Bildplatzhalter 6">
            <a:extLst>
              <a:ext uri="{FF2B5EF4-FFF2-40B4-BE49-F238E27FC236}">
                <a16:creationId xmlns:a16="http://schemas.microsoft.com/office/drawing/2014/main" id="{60959061-137E-48D2-A69A-B95C8157B4A3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8040687" y="3968750"/>
            <a:ext cx="3600451" cy="1991360"/>
          </a:xfrm>
          <a:noFill/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 </a:t>
            </a: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8EA5C46D-A93E-47DD-830A-60D49776C0B8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722171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X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B94A7AF-F3AB-4311-90AA-1DB23FCC9B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1905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B94A7AF-F3AB-4311-90AA-1DB23FCC9B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070DA7B-83AF-4823-B8FA-263431C7B12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4" y="368300"/>
            <a:ext cx="7345362" cy="3921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B1F6F38-3F66-4D8A-8D78-5453C060F1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449388"/>
            <a:ext cx="12191999" cy="5408612"/>
          </a:xfrm>
          <a:solidFill>
            <a:schemeClr val="accent2">
              <a:lumMod val="20000"/>
              <a:lumOff val="80000"/>
            </a:schemeClr>
          </a:solidFill>
        </p:spPr>
        <p:txBody>
          <a:bodyPr lIns="288000" tIns="1080000" rIns="288000" anchor="ctr"/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</a:t>
            </a:r>
            <a:br>
              <a:rPr lang="en-US"/>
            </a:b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</a:t>
            </a:r>
            <a:br>
              <a:rPr lang="en-US"/>
            </a:br>
            <a:r>
              <a:rPr lang="en-US"/>
              <a:t>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255800C-E5B1-48FF-A39B-36B9AEC9D4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0" y="5663047"/>
            <a:ext cx="4151313" cy="1194953"/>
          </a:xfrm>
          <a:solidFill>
            <a:schemeClr val="bg1"/>
          </a:solidFill>
        </p:spPr>
        <p:txBody>
          <a:bodyPr wrap="square" lIns="540000" tIns="468000" rIns="468000" bIns="468000" anchor="b" anchorCtr="0">
            <a:spAutoFit/>
          </a:bodyPr>
          <a:lstStyle>
            <a:lvl1pPr rtl="0">
              <a:defRPr/>
            </a:lvl1pPr>
            <a:lvl2pPr marL="252000" indent="-252000">
              <a:buFont typeface="Wingdings" panose="05000000000000000000" pitchFamily="2" charset="2"/>
              <a:buChar char="§"/>
              <a:defRPr/>
            </a:lvl2pPr>
            <a:lvl5pPr marL="252000" indent="0">
              <a:buNone/>
              <a:defRPr/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CDBFD36-893B-4F5D-B769-251F8EB27134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fld id="{9C5D6647-3C67-4872-9551-BC2463D482A6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26D8261-31E1-49E9-A5DF-FA184DFFC6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A402B41B-C536-4D0B-91C1-7091FAFEF8D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7C49C6C-673E-4CCA-93C6-A212C0710A39}"/>
              </a:ext>
            </a:extLst>
          </p:cNvPr>
          <p:cNvSpPr/>
          <p:nvPr userDrawn="1"/>
        </p:nvSpPr>
        <p:spPr bwMode="gray">
          <a:xfrm>
            <a:off x="-2" y="0"/>
            <a:ext cx="227350" cy="1449388"/>
          </a:xfrm>
          <a:prstGeom prst="rect">
            <a:avLst/>
          </a:prstGeom>
          <a:solidFill>
            <a:schemeClr val="bg1"/>
          </a:solidFill>
          <a:ln cap="sq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2" name="Untertitel 2">
            <a:extLst>
              <a:ext uri="{FF2B5EF4-FFF2-40B4-BE49-F238E27FC236}">
                <a16:creationId xmlns:a16="http://schemas.microsoft.com/office/drawing/2014/main" id="{8DDB86FB-22BA-4B6E-BAA3-F12224F9741F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0865" y="760414"/>
            <a:ext cx="7345360" cy="328612"/>
          </a:xfrm>
        </p:spPr>
        <p:txBody>
          <a:bodyPr t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22325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fullsiz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5F6C533-248C-4E0B-8909-46146303F0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7433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5F6C533-248C-4E0B-8909-46146303F0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7F1FC3E1-91D0-4888-9149-24192F17D3C6}"/>
              </a:ext>
            </a:extLst>
          </p:cNvPr>
          <p:cNvSpPr/>
          <p:nvPr userDrawn="1"/>
        </p:nvSpPr>
        <p:spPr bwMode="gray">
          <a:xfrm>
            <a:off x="0" y="0"/>
            <a:ext cx="1219199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A927ADE5-455F-441B-8CD2-3FF9A6A852D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noFill/>
        </p:spPr>
        <p:txBody>
          <a:bodyPr wrap="square" lIns="288000" tIns="1080000" rIns="288000" anchor="ctr">
            <a:noAutofit/>
          </a:bodyPr>
          <a:lstStyle>
            <a:lvl1pPr algn="ctr" rtl="0">
              <a:defRPr sz="800" i="1">
                <a:solidFill>
                  <a:schemeClr val="tx1"/>
                </a:solidFill>
              </a:defRPr>
            </a:lvl1pPr>
          </a:lstStyle>
          <a:p>
            <a:r>
              <a:rPr lang="en-US" err="1"/>
              <a:t>Fügen</a:t>
            </a:r>
            <a:r>
              <a:rPr lang="en-US"/>
              <a:t> Sie </a:t>
            </a:r>
            <a:r>
              <a:rPr lang="en-US" err="1"/>
              <a:t>hier</a:t>
            </a:r>
            <a:r>
              <a:rPr lang="en-US"/>
              <a:t> </a:t>
            </a:r>
            <a:r>
              <a:rPr lang="en-US" err="1"/>
              <a:t>Ihr</a:t>
            </a:r>
            <a:r>
              <a:rPr lang="en-US"/>
              <a:t> Bild </a:t>
            </a:r>
            <a:r>
              <a:rPr lang="en-US" err="1"/>
              <a:t>über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auf das Icon </a:t>
            </a:r>
            <a:r>
              <a:rPr lang="en-US" err="1"/>
              <a:t>ein</a:t>
            </a:r>
            <a:r>
              <a:rPr lang="en-US"/>
              <a:t>.</a:t>
            </a:r>
            <a:br>
              <a:rPr lang="en-US"/>
            </a:br>
            <a:r>
              <a:rPr lang="en-US" err="1"/>
              <a:t>Alternativ</a:t>
            </a:r>
            <a:r>
              <a:rPr lang="en-US"/>
              <a:t> </a:t>
            </a:r>
            <a:r>
              <a:rPr lang="en-US" err="1"/>
              <a:t>können</a:t>
            </a:r>
            <a:r>
              <a:rPr lang="en-US"/>
              <a:t> Sie </a:t>
            </a:r>
            <a:r>
              <a:rPr lang="en-US" err="1"/>
              <a:t>auch</a:t>
            </a:r>
            <a:r>
              <a:rPr lang="en-US"/>
              <a:t> </a:t>
            </a:r>
            <a:r>
              <a:rPr lang="en-US" err="1"/>
              <a:t>ein</a:t>
            </a:r>
            <a:r>
              <a:rPr lang="en-US"/>
              <a:t> </a:t>
            </a:r>
            <a:r>
              <a:rPr lang="en-US" err="1"/>
              <a:t>bestehendes</a:t>
            </a:r>
            <a:r>
              <a:rPr lang="en-US"/>
              <a:t> Bild </a:t>
            </a:r>
            <a:r>
              <a:rPr lang="en-US" err="1"/>
              <a:t>kopieren</a:t>
            </a:r>
            <a:r>
              <a:rPr lang="en-US"/>
              <a:t> (</a:t>
            </a:r>
            <a:r>
              <a:rPr lang="en-US" err="1"/>
              <a:t>Strg+C</a:t>
            </a:r>
            <a:r>
              <a:rPr lang="en-US"/>
              <a:t>), </a:t>
            </a:r>
            <a:br>
              <a:rPr lang="en-US"/>
            </a:br>
            <a:r>
              <a:rPr lang="en-US"/>
              <a:t>den </a:t>
            </a:r>
            <a:r>
              <a:rPr lang="en-US" err="1"/>
              <a:t>Platzhalter</a:t>
            </a:r>
            <a:r>
              <a:rPr lang="en-US"/>
              <a:t> </a:t>
            </a:r>
            <a:r>
              <a:rPr lang="en-US" err="1"/>
              <a:t>anwählen</a:t>
            </a:r>
            <a:r>
              <a:rPr lang="en-US"/>
              <a:t> und dieses </a:t>
            </a:r>
            <a:r>
              <a:rPr lang="en-US" err="1"/>
              <a:t>wieder</a:t>
            </a:r>
            <a:r>
              <a:rPr lang="en-US"/>
              <a:t> </a:t>
            </a:r>
            <a:r>
              <a:rPr lang="en-US" err="1"/>
              <a:t>einfügen</a:t>
            </a:r>
            <a:r>
              <a:rPr lang="en-US"/>
              <a:t> (</a:t>
            </a:r>
            <a:r>
              <a:rPr lang="en-US" err="1"/>
              <a:t>Strg+V</a:t>
            </a:r>
            <a:r>
              <a:rPr lang="en-US"/>
              <a:t>)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255800C-E5B1-48FF-A39B-36B9AEC9D4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-1" y="5663047"/>
            <a:ext cx="4151313" cy="1194953"/>
          </a:xfrm>
          <a:solidFill>
            <a:schemeClr val="tx2">
              <a:alpha val="80000"/>
            </a:schemeClr>
          </a:solidFill>
        </p:spPr>
        <p:txBody>
          <a:bodyPr lIns="540000" tIns="468000" rIns="468000" bIns="468000" anchor="b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CDBFD36-893B-4F5D-B769-251F8EB27134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>
          <a:xfrm>
            <a:off x="10456331" y="6954883"/>
            <a:ext cx="769781" cy="175612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pPr algn="r"/>
            <a:fld id="{602B0899-2C4F-4A7B-B88F-E84FED73A1DD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26D8261-31E1-49E9-A5DF-FA184DFFC6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>
          <a:xfrm>
            <a:off x="8040170" y="6954883"/>
            <a:ext cx="2416161" cy="175612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A402B41B-C536-4D0B-91C1-7091FAFEF8D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>
          <a:xfrm>
            <a:off x="11226113" y="6954883"/>
            <a:ext cx="413414" cy="175612"/>
          </a:xfrm>
        </p:spPr>
        <p:txBody>
          <a:bodyPr/>
          <a:lstStyle>
            <a:lvl1pPr rtl="0">
              <a:defRPr>
                <a:noFill/>
              </a:defRPr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9408061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_h&amp;z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6204239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86" imgH="286" progId="TCLayout.ActiveDocument.1">
                  <p:embed/>
                </p:oleObj>
              </mc:Choice>
              <mc:Fallback>
                <p:oleObj name="think-cell Folie" r:id="rId3" imgW="286" imgH="28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68923" y="1004400"/>
            <a:ext cx="11254154" cy="205200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err="1"/>
              <a:t>Subtitel</a:t>
            </a:r>
            <a:r>
              <a:rPr lang="en-US"/>
              <a:t>, Arial 14 Pt., </a:t>
            </a:r>
            <a:r>
              <a:rPr lang="en-US" err="1"/>
              <a:t>Schriftfarbe</a:t>
            </a:r>
            <a:r>
              <a:rPr lang="en-US"/>
              <a:t> </a:t>
            </a:r>
            <a:r>
              <a:rPr lang="en-US" err="1"/>
              <a:t>Dunkelblau</a:t>
            </a:r>
            <a:endParaRPr lang="en-US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pPr lvl="0"/>
            <a:r>
              <a:rPr lang="en-US" err="1"/>
              <a:t>Titel</a:t>
            </a:r>
            <a:r>
              <a:rPr lang="en-US"/>
              <a:t>, Arial 20 Pt., </a:t>
            </a:r>
            <a:r>
              <a:rPr lang="en-US" err="1"/>
              <a:t>Schriftfarbe</a:t>
            </a:r>
            <a:r>
              <a:rPr lang="en-US"/>
              <a:t> </a:t>
            </a:r>
            <a:r>
              <a:rPr lang="en-US" err="1"/>
              <a:t>Brombeer</a:t>
            </a:r>
            <a:r>
              <a:rPr lang="en-US"/>
              <a:t> (R125-G45-B85)</a:t>
            </a:r>
          </a:p>
        </p:txBody>
      </p:sp>
    </p:spTree>
    <p:extLst>
      <p:ext uri="{BB962C8B-B14F-4D97-AF65-F5344CB8AC3E}">
        <p14:creationId xmlns:p14="http://schemas.microsoft.com/office/powerpoint/2010/main" val="269350283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clean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2D479EF-5570-4D30-A03A-B7AFA7DAB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9286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2D479EF-5570-4D30-A03A-B7AFA7DAB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DC010CD4-0F79-4886-9834-F2C81E9E964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l" rtl="0">
              <a:lnSpc>
                <a:spcPct val="120000"/>
              </a:lnSpc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9CBDEF6-E977-475E-AB77-56E3DE8DA3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95500" y="2628900"/>
            <a:ext cx="8001000" cy="800219"/>
          </a:xfrm>
        </p:spPr>
        <p:txBody>
          <a:bodyPr/>
          <a:lstStyle>
            <a:lvl1pPr marL="0" indent="0" algn="ctr" rtl="0">
              <a:lnSpc>
                <a:spcPct val="100000"/>
              </a:lnSpc>
              <a:buNone/>
              <a:defRPr sz="5200" b="1">
                <a:solidFill>
                  <a:schemeClr val="bg1"/>
                </a:solidFill>
              </a:defRPr>
            </a:lvl1pPr>
            <a:lvl2pPr marL="92075" indent="0" algn="ctr">
              <a:lnSpc>
                <a:spcPct val="100000"/>
              </a:lnSpc>
              <a:buNone/>
              <a:defRPr sz="5200" b="1">
                <a:solidFill>
                  <a:schemeClr val="bg1"/>
                </a:solidFill>
              </a:defRPr>
            </a:lvl2pPr>
            <a:lvl3pPr marL="182562" indent="0" algn="ctr">
              <a:lnSpc>
                <a:spcPct val="100000"/>
              </a:lnSpc>
              <a:buNone/>
              <a:defRPr sz="5200" b="1">
                <a:solidFill>
                  <a:schemeClr val="bg1"/>
                </a:solidFill>
              </a:defRPr>
            </a:lvl3pPr>
            <a:lvl4pPr marL="266700" indent="0" algn="ctr">
              <a:lnSpc>
                <a:spcPct val="100000"/>
              </a:lnSpc>
              <a:buNone/>
              <a:defRPr sz="5200" b="1">
                <a:solidFill>
                  <a:schemeClr val="bg1"/>
                </a:solidFill>
              </a:defRPr>
            </a:lvl4pPr>
            <a:lvl5pPr marL="358775" indent="0" algn="ctr">
              <a:lnSpc>
                <a:spcPct val="100000"/>
              </a:lnSpc>
              <a:buNone/>
              <a:defRPr sz="5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textformat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67C271D-7F60-4A36-A068-2A769FE43B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95500" y="3467100"/>
            <a:ext cx="8001000" cy="254000"/>
          </a:xfrm>
        </p:spPr>
        <p:txBody>
          <a:bodyPr/>
          <a:lstStyle>
            <a:lvl1pPr marL="0" indent="0" algn="ctr" rtl="0">
              <a:lnSpc>
                <a:spcPct val="100000"/>
              </a:lnSpc>
              <a:buNone/>
              <a:defRPr sz="1400" b="0">
                <a:solidFill>
                  <a:schemeClr val="bg1"/>
                </a:solidFill>
              </a:defRPr>
            </a:lvl1pPr>
            <a:lvl2pPr marL="92075" indent="0" algn="ctr">
              <a:lnSpc>
                <a:spcPct val="100000"/>
              </a:lnSpc>
              <a:buNone/>
              <a:defRPr sz="2400" b="1"/>
            </a:lvl2pPr>
            <a:lvl3pPr marL="182562" indent="0" algn="ctr">
              <a:lnSpc>
                <a:spcPct val="100000"/>
              </a:lnSpc>
              <a:buNone/>
              <a:defRPr sz="2400" b="1"/>
            </a:lvl3pPr>
            <a:lvl4pPr marL="266700" indent="0" algn="ctr">
              <a:lnSpc>
                <a:spcPct val="100000"/>
              </a:lnSpc>
              <a:buNone/>
              <a:defRPr sz="2400" b="1"/>
            </a:lvl4pPr>
            <a:lvl5pPr marL="358775" indent="0" algn="ctr">
              <a:lnSpc>
                <a:spcPct val="100000"/>
              </a:lnSpc>
              <a:buNone/>
              <a:defRPr sz="2400" b="1"/>
            </a:lvl5pPr>
          </a:lstStyle>
          <a:p>
            <a:pPr lvl="0"/>
            <a:r>
              <a:rPr lang="en-US"/>
              <a:t>Mastertextformat bearbeiten</a:t>
            </a:r>
          </a:p>
        </p:txBody>
      </p:sp>
      <p:sp>
        <p:nvSpPr>
          <p:cNvPr id="15" name="Rectangle 15">
            <a:extLst>
              <a:ext uri="{FF2B5EF4-FFF2-40B4-BE49-F238E27FC236}">
                <a16:creationId xmlns:a16="http://schemas.microsoft.com/office/drawing/2014/main" id="{D1148676-8550-4649-B890-71AB994AF7F5}"/>
              </a:ext>
            </a:extLst>
          </p:cNvPr>
          <p:cNvSpPr/>
          <p:nvPr userDrawn="1"/>
        </p:nvSpPr>
        <p:spPr>
          <a:xfrm>
            <a:off x="706056" y="-695325"/>
            <a:ext cx="2540900" cy="525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Alternative dividers</a:t>
            </a:r>
          </a:p>
        </p:txBody>
      </p:sp>
    </p:spTree>
    <p:extLst>
      <p:ext uri="{BB962C8B-B14F-4D97-AF65-F5344CB8AC3E}">
        <p14:creationId xmlns:p14="http://schemas.microsoft.com/office/powerpoint/2010/main" val="136250648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| Grey Text Box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1B80313-0FDE-4085-B83C-1C9837F170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359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498" imgH="499" progId="TCLayout.ActiveDocument.1">
                  <p:embed/>
                </p:oleObj>
              </mc:Choice>
              <mc:Fallback>
                <p:oleObj name="think-cell Folie" r:id="rId7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1B80313-0FDE-4085-B83C-1C9837F17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hapter">
            <a:extLst>
              <a:ext uri="{FF2B5EF4-FFF2-40B4-BE49-F238E27FC236}">
                <a16:creationId xmlns:a16="http://schemas.microsoft.com/office/drawing/2014/main" id="{D4912701-0F1C-43DF-AA25-1EBFFF43684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rtl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7" name="Content Placeholder Left">
            <a:extLst>
              <a:ext uri="{FF2B5EF4-FFF2-40B4-BE49-F238E27FC236}">
                <a16:creationId xmlns:a16="http://schemas.microsoft.com/office/drawing/2014/main" id="{CA26B44B-9BF5-4CBF-87F9-C7A9787E0C9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479425" y="1628776"/>
            <a:ext cx="8280400" cy="43911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5" name="Grey Rectangle">
            <a:extLst>
              <a:ext uri="{FF2B5EF4-FFF2-40B4-BE49-F238E27FC236}">
                <a16:creationId xmlns:a16="http://schemas.microsoft.com/office/drawing/2014/main" id="{02EE3BEB-7F7C-417B-BDB5-3AEACA8B78E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 flipH="1">
            <a:off x="9048328" y="1340767"/>
            <a:ext cx="3143672" cy="4967957"/>
          </a:xfrm>
          <a:prstGeom prst="rect">
            <a:avLst/>
          </a:prstGeom>
          <a:solidFill>
            <a:srgbClr val="E3E3E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Content Placeholder Right">
            <a:extLst>
              <a:ext uri="{FF2B5EF4-FFF2-40B4-BE49-F238E27FC236}">
                <a16:creationId xmlns:a16="http://schemas.microsoft.com/office/drawing/2014/main" id="{59CDA235-7A85-4201-984D-3DF266BEC8C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9336360" y="1628676"/>
            <a:ext cx="2376215" cy="43911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4E1E5E6-B880-46CE-8B8C-D36CEA2E7237}" type="datetime3">
              <a:rPr lang="en-US" smtClean="0"/>
              <a:pPr/>
              <a:t>1 February 2023</a:t>
            </a:fld>
            <a:endParaRPr lang="en-US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en-US"/>
              <a:t>Future Organizational Set-up of Purchasing - thoughts from h&amp;z</a:t>
            </a: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CCF10D83-73B2-4D20-BE53-AA27B2521160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5" name="Text Image Area" hidden="1">
            <a:extLst>
              <a:ext uri="{FF2B5EF4-FFF2-40B4-BE49-F238E27FC236}">
                <a16:creationId xmlns:a16="http://schemas.microsoft.com/office/drawing/2014/main" id="{04774668-0BCB-4D9E-A23D-E9CF2E7D003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>
              <a:solidFill>
                <a:srgbClr val="000000"/>
              </a:solidFill>
            </a:endParaRPr>
          </a:p>
        </p:txBody>
      </p:sp>
      <p:sp>
        <p:nvSpPr>
          <p:cNvPr id="13" name="White Area Logo" hidden="1">
            <a:extLst>
              <a:ext uri="{FF2B5EF4-FFF2-40B4-BE49-F238E27FC236}">
                <a16:creationId xmlns:a16="http://schemas.microsoft.com/office/drawing/2014/main" id="{726010D0-A986-48F7-ACB0-8205E408BA0A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6030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64B4C0E-D203-45C8-A4A9-BFB42A066B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139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64B4C0E-D203-45C8-A4A9-BFB42A066B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8732" y="1766888"/>
            <a:ext cx="10908340" cy="4625181"/>
          </a:xfrm>
        </p:spPr>
        <p:txBody>
          <a:bodyPr/>
          <a:lstStyle>
            <a:lvl1pPr marL="360000" indent="-360000" rtl="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1pPr>
            <a:lvl2pPr marL="355600" indent="-355600" rtl="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2pPr>
            <a:lvl3pPr marL="360000" indent="-360000" rtl="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3pPr>
            <a:lvl4pPr marL="360000" indent="-360000" rtl="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4pPr>
            <a:lvl5pPr marL="360000" indent="-360000" rtl="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5pPr>
            <a:lvl6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6pPr>
            <a:lvl7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7pPr>
            <a:lvl8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8pPr>
            <a:lvl9pPr marL="360000" indent="-360000">
              <a:spcBef>
                <a:spcPts val="1000"/>
              </a:spcBef>
              <a:buClr>
                <a:schemeClr val="tx1"/>
              </a:buClr>
              <a:buSzPct val="120000"/>
              <a:buFont typeface="+mj-lt"/>
              <a:buAutoNum type="arabicPeriod"/>
              <a:defRPr sz="2000"/>
            </a:lvl9pPr>
          </a:lstStyle>
          <a:p>
            <a:pPr lvl="0"/>
            <a:r>
              <a:rPr lang="en-US"/>
              <a:t>Textmaster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42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28731" y="1152797"/>
            <a:ext cx="8839416" cy="345805"/>
          </a:xfrm>
        </p:spPr>
        <p:txBody>
          <a:bodyPr anchor="ctr"/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Master-Untertitel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7FB524EF-13DD-48F5-862A-B189D612DB55}" type="slidenum">
              <a:rPr lang="en-US" smtClean="0"/>
              <a:pPr>
                <a:defRPr/>
              </a:pPr>
              <a:t>‹Nr.›</a:t>
            </a:fld>
            <a:endParaRPr lang="en-US"/>
          </a:p>
        </p:txBody>
      </p:sp>
      <p:sp>
        <p:nvSpPr>
          <p:cNvPr id="9" name="Datumsplatzhalter 4">
            <a:extLst>
              <a:ext uri="{FF2B5EF4-FFF2-40B4-BE49-F238E27FC236}">
                <a16:creationId xmlns:a16="http://schemas.microsoft.com/office/drawing/2014/main" id="{848F25C8-5F20-4B52-8C07-BEF30E565D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9846" y="6492876"/>
            <a:ext cx="3658393" cy="36512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pPr>
              <a:defRPr/>
            </a:pPr>
            <a:r>
              <a:rPr lang="en-US"/>
              <a:t>15.03.2021 – EK-Info TOM zum Start 01.04.2021 | Dr. Andreas Bruckner</a:t>
            </a:r>
          </a:p>
        </p:txBody>
      </p:sp>
    </p:spTree>
    <p:extLst>
      <p:ext uri="{BB962C8B-B14F-4D97-AF65-F5344CB8AC3E}">
        <p14:creationId xmlns:p14="http://schemas.microsoft.com/office/powerpoint/2010/main" val="3691643933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in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04D5690-0BE0-4882-BABB-2E7E9648C0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9036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04D5690-0BE0-4882-BABB-2E7E9648C0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1008001"/>
            <a:ext cx="11376000" cy="394193"/>
          </a:xfrm>
          <a:prstGeom prst="roundRect">
            <a:avLst>
              <a:gd name="adj" fmla="val 0"/>
            </a:avLst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462F6F75-73FF-4978-9B57-C8C83743789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029452" y="6656950"/>
            <a:ext cx="4902200" cy="17889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836000"/>
            <a:ext cx="11376000" cy="360000"/>
          </a:xfrm>
          <a:solidFill>
            <a:schemeClr val="tx2"/>
          </a:solidFill>
          <a:ln w="9525">
            <a:solidFill>
              <a:schemeClr val="tx2"/>
            </a:solidFill>
          </a:ln>
        </p:spPr>
        <p:txBody>
          <a:bodyPr anchor="ctr"/>
          <a:lstStyle>
            <a:lvl1pPr algn="ctr" rtl="0">
              <a:lnSpc>
                <a:spcPct val="100000"/>
              </a:lnSpc>
              <a:spcBef>
                <a:spcPts val="985"/>
              </a:spcBef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extmasterformat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2232000"/>
            <a:ext cx="11376000" cy="4320000"/>
          </a:xfrm>
          <a:ln>
            <a:solidFill>
              <a:schemeClr val="accent1"/>
            </a:solidFill>
          </a:ln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Textmaster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44420144"/>
      </p:ext>
    </p:extLst>
  </p:cSld>
  <p:clrMapOvr>
    <a:masterClrMapping/>
  </p:clrMapOvr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5A53C67-9882-4FA2-AB5E-5DC9515E6A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847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5A53C67-9882-4FA2-AB5E-5DC9515E6A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1008000"/>
            <a:ext cx="11376000" cy="394193"/>
          </a:xfrm>
          <a:prstGeom prst="roundRect">
            <a:avLst>
              <a:gd name="adj" fmla="val 0"/>
            </a:avLst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buClr>
                <a:schemeClr val="tx2"/>
              </a:buClr>
              <a:defRPr/>
            </a:lvl2pPr>
            <a:lvl3pPr rtl="0">
              <a:buClr>
                <a:schemeClr val="tx2"/>
              </a:buClr>
              <a:defRPr/>
            </a:lvl3pPr>
            <a:lvl4pPr rtl="0">
              <a:buClr>
                <a:schemeClr val="tx2"/>
              </a:buClr>
              <a:defRPr/>
            </a:lvl4pPr>
            <a:lvl5pPr rtl="0"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Textmaster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pPr algn="ctr" defTabSz="9545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462F6F75-73FF-4978-9B57-C8C837437896}" type="slidenum">
              <a:rPr lang="en-US" b="0" smtClean="0">
                <a:solidFill>
                  <a:srgbClr val="000000"/>
                </a:solidFill>
              </a:rPr>
              <a:pPr algn="ctr" defTabSz="95458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720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2508AF0-9941-4D64-824A-1C276CCE5F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1536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2508AF0-9941-4D64-824A-1C276CCE5F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1008000"/>
            <a:ext cx="11376000" cy="394193"/>
          </a:xfrm>
          <a:prstGeom prst="roundRect">
            <a:avLst>
              <a:gd name="adj" fmla="val 0"/>
            </a:avLst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Titelmasterformat durch Klicken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pPr algn="ctr" defTabSz="9545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462F6F75-73FF-4978-9B57-C8C837437896}" type="slidenum">
              <a:rPr lang="en-US" b="0" smtClean="0">
                <a:solidFill>
                  <a:srgbClr val="000000"/>
                </a:solidFill>
              </a:rPr>
              <a:pPr algn="ctr" defTabSz="95458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111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-line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CCC99B6-2756-47D3-AE57-F6EDF8549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8741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CCC99B6-2756-47D3-AE57-F6EDF8549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2936" y="1008001"/>
            <a:ext cx="11424000" cy="394193"/>
          </a:xfrm>
          <a:prstGeom prst="roundRect">
            <a:avLst>
              <a:gd name="adj" fmla="val 0"/>
            </a:avLst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(Arial 24pt, bold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462F6F75-73FF-4978-9B57-C8C83743789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4001" y="1836000"/>
            <a:ext cx="11423649" cy="360000"/>
          </a:xfrm>
          <a:solidFill>
            <a:schemeClr val="tx2"/>
          </a:solidFill>
          <a:ln w="9525">
            <a:solidFill>
              <a:schemeClr val="tx2"/>
            </a:solidFill>
          </a:ln>
        </p:spPr>
        <p:txBody>
          <a:bodyPr anchor="ctr"/>
          <a:lstStyle>
            <a:lvl1pPr algn="ctr" rtl="0">
              <a:lnSpc>
                <a:spcPct val="100000"/>
              </a:lnSpc>
              <a:spcBef>
                <a:spcPts val="985"/>
              </a:spcBef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Subhead (16pt, bold)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4000" y="2232000"/>
            <a:ext cx="11424000" cy="4320000"/>
          </a:xfrm>
          <a:ln>
            <a:solidFill>
              <a:schemeClr val="accent1"/>
            </a:solidFill>
          </a:ln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Text (Arial, 20pt)</a:t>
            </a:r>
          </a:p>
          <a:p>
            <a:pPr lvl="1"/>
            <a:r>
              <a:rPr lang="en-US"/>
              <a:t>Text (Arial, 20pt)</a:t>
            </a:r>
          </a:p>
          <a:p>
            <a:pPr lvl="2"/>
            <a:r>
              <a:rPr lang="en-US"/>
              <a:t>Text (Arial, 18pt)</a:t>
            </a:r>
          </a:p>
          <a:p>
            <a:pPr lvl="3"/>
            <a:r>
              <a:rPr lang="en-US"/>
              <a:t>Text (Arial, 18pt)</a:t>
            </a:r>
          </a:p>
          <a:p>
            <a:pPr lvl="4"/>
            <a:r>
              <a:rPr lang="en-US"/>
              <a:t>Text (Arial, 18pt)</a:t>
            </a:r>
          </a:p>
        </p:txBody>
      </p:sp>
    </p:spTree>
    <p:extLst>
      <p:ext uri="{BB962C8B-B14F-4D97-AF65-F5344CB8AC3E}">
        <p14:creationId xmlns:p14="http://schemas.microsoft.com/office/powerpoint/2010/main" val="738140408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clean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2D479EF-5570-4D30-A03A-B7AFA7DAB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1590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2D479EF-5570-4D30-A03A-B7AFA7DAB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DC010CD4-0F79-4886-9834-F2C81E9E964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l" rtl="0">
              <a:lnSpc>
                <a:spcPct val="120000"/>
              </a:lnSpc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9CBDEF6-E977-475E-AB77-56E3DE8DA3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95500" y="2628900"/>
            <a:ext cx="8001000" cy="800219"/>
          </a:xfrm>
        </p:spPr>
        <p:txBody>
          <a:bodyPr/>
          <a:lstStyle>
            <a:lvl1pPr marL="0" indent="0" algn="ctr" rtl="0">
              <a:lnSpc>
                <a:spcPct val="100000"/>
              </a:lnSpc>
              <a:buNone/>
              <a:defRPr sz="5200" b="1">
                <a:solidFill>
                  <a:schemeClr val="bg1"/>
                </a:solidFill>
              </a:defRPr>
            </a:lvl1pPr>
            <a:lvl2pPr marL="92075" indent="0" algn="ctr">
              <a:lnSpc>
                <a:spcPct val="100000"/>
              </a:lnSpc>
              <a:buNone/>
              <a:defRPr sz="5200" b="1">
                <a:solidFill>
                  <a:schemeClr val="bg1"/>
                </a:solidFill>
              </a:defRPr>
            </a:lvl2pPr>
            <a:lvl3pPr marL="182562" indent="0" algn="ctr">
              <a:lnSpc>
                <a:spcPct val="100000"/>
              </a:lnSpc>
              <a:buNone/>
              <a:defRPr sz="5200" b="1">
                <a:solidFill>
                  <a:schemeClr val="bg1"/>
                </a:solidFill>
              </a:defRPr>
            </a:lvl3pPr>
            <a:lvl4pPr marL="266700" indent="0" algn="ctr">
              <a:lnSpc>
                <a:spcPct val="100000"/>
              </a:lnSpc>
              <a:buNone/>
              <a:defRPr sz="5200" b="1">
                <a:solidFill>
                  <a:schemeClr val="bg1"/>
                </a:solidFill>
              </a:defRPr>
            </a:lvl4pPr>
            <a:lvl5pPr marL="358775" indent="0" algn="ctr">
              <a:lnSpc>
                <a:spcPct val="100000"/>
              </a:lnSpc>
              <a:buNone/>
              <a:defRPr sz="5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textformat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67C271D-7F60-4A36-A068-2A769FE43B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95500" y="3467100"/>
            <a:ext cx="8001000" cy="254000"/>
          </a:xfrm>
        </p:spPr>
        <p:txBody>
          <a:bodyPr/>
          <a:lstStyle>
            <a:lvl1pPr marL="0" indent="0" algn="ctr" rtl="0">
              <a:lnSpc>
                <a:spcPct val="100000"/>
              </a:lnSpc>
              <a:buNone/>
              <a:defRPr sz="1400" b="0">
                <a:solidFill>
                  <a:schemeClr val="bg1"/>
                </a:solidFill>
              </a:defRPr>
            </a:lvl1pPr>
            <a:lvl2pPr marL="92075" indent="0" algn="ctr">
              <a:lnSpc>
                <a:spcPct val="100000"/>
              </a:lnSpc>
              <a:buNone/>
              <a:defRPr sz="2400" b="1"/>
            </a:lvl2pPr>
            <a:lvl3pPr marL="182562" indent="0" algn="ctr">
              <a:lnSpc>
                <a:spcPct val="100000"/>
              </a:lnSpc>
              <a:buNone/>
              <a:defRPr sz="2400" b="1"/>
            </a:lvl3pPr>
            <a:lvl4pPr marL="266700" indent="0" algn="ctr">
              <a:lnSpc>
                <a:spcPct val="100000"/>
              </a:lnSpc>
              <a:buNone/>
              <a:defRPr sz="2400" b="1"/>
            </a:lvl4pPr>
            <a:lvl5pPr marL="358775" indent="0" algn="ctr">
              <a:lnSpc>
                <a:spcPct val="100000"/>
              </a:lnSpc>
              <a:buNone/>
              <a:defRPr sz="2400" b="1"/>
            </a:lvl5pPr>
          </a:lstStyle>
          <a:p>
            <a:pPr lvl="0"/>
            <a:r>
              <a:rPr lang="en-US"/>
              <a:t>Mastertextformat bearbeiten</a:t>
            </a:r>
          </a:p>
        </p:txBody>
      </p:sp>
      <p:sp>
        <p:nvSpPr>
          <p:cNvPr id="15" name="Rectangle 15">
            <a:extLst>
              <a:ext uri="{FF2B5EF4-FFF2-40B4-BE49-F238E27FC236}">
                <a16:creationId xmlns:a16="http://schemas.microsoft.com/office/drawing/2014/main" id="{D1148676-8550-4649-B890-71AB994AF7F5}"/>
              </a:ext>
            </a:extLst>
          </p:cNvPr>
          <p:cNvSpPr/>
          <p:nvPr userDrawn="1"/>
        </p:nvSpPr>
        <p:spPr>
          <a:xfrm>
            <a:off x="706056" y="-695325"/>
            <a:ext cx="2540900" cy="525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Alternative dividers</a:t>
            </a:r>
          </a:p>
        </p:txBody>
      </p:sp>
    </p:spTree>
    <p:extLst>
      <p:ext uri="{BB962C8B-B14F-4D97-AF65-F5344CB8AC3E}">
        <p14:creationId xmlns:p14="http://schemas.microsoft.com/office/powerpoint/2010/main" val="31419231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clea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2D479EF-5570-4D30-A03A-B7AFA7DAB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0071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2D479EF-5570-4D30-A03A-B7AFA7DAB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DC010CD4-0F79-4886-9834-F2C81E9E964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l" rtl="0">
              <a:lnSpc>
                <a:spcPct val="120000"/>
              </a:lnSpc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9CBDEF6-E977-475E-AB77-56E3DE8DA3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95500" y="2628900"/>
            <a:ext cx="8001000" cy="800219"/>
          </a:xfrm>
        </p:spPr>
        <p:txBody>
          <a:bodyPr/>
          <a:lstStyle>
            <a:lvl1pPr marL="0" indent="0" algn="ctr" rtl="0">
              <a:lnSpc>
                <a:spcPct val="100000"/>
              </a:lnSpc>
              <a:buNone/>
              <a:defRPr sz="5200" b="1">
                <a:solidFill>
                  <a:sysClr val="windowText" lastClr="000000"/>
                </a:solidFill>
              </a:defRPr>
            </a:lvl1pPr>
            <a:lvl2pPr marL="92075" indent="0" algn="ctr">
              <a:lnSpc>
                <a:spcPct val="100000"/>
              </a:lnSpc>
              <a:buNone/>
              <a:defRPr sz="5200" b="1">
                <a:solidFill>
                  <a:schemeClr val="bg1"/>
                </a:solidFill>
              </a:defRPr>
            </a:lvl2pPr>
            <a:lvl3pPr marL="182562" indent="0" algn="ctr">
              <a:lnSpc>
                <a:spcPct val="100000"/>
              </a:lnSpc>
              <a:buNone/>
              <a:defRPr sz="5200" b="1">
                <a:solidFill>
                  <a:schemeClr val="bg1"/>
                </a:solidFill>
              </a:defRPr>
            </a:lvl3pPr>
            <a:lvl4pPr marL="266700" indent="0" algn="ctr">
              <a:lnSpc>
                <a:spcPct val="100000"/>
              </a:lnSpc>
              <a:buNone/>
              <a:defRPr sz="5200" b="1">
                <a:solidFill>
                  <a:schemeClr val="bg1"/>
                </a:solidFill>
              </a:defRPr>
            </a:lvl4pPr>
            <a:lvl5pPr marL="358775" indent="0" algn="ctr">
              <a:lnSpc>
                <a:spcPct val="100000"/>
              </a:lnSpc>
              <a:buNone/>
              <a:defRPr sz="5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textformat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67C271D-7F60-4A36-A068-2A769FE43B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95500" y="3467100"/>
            <a:ext cx="8001000" cy="254000"/>
          </a:xfrm>
        </p:spPr>
        <p:txBody>
          <a:bodyPr/>
          <a:lstStyle>
            <a:lvl1pPr marL="0" indent="0" algn="ctr" rtl="0">
              <a:lnSpc>
                <a:spcPct val="100000"/>
              </a:lnSpc>
              <a:buNone/>
              <a:defRPr sz="1400" b="0">
                <a:solidFill>
                  <a:sysClr val="windowText" lastClr="000000"/>
                </a:solidFill>
              </a:defRPr>
            </a:lvl1pPr>
            <a:lvl2pPr marL="92075" indent="0" algn="ctr">
              <a:lnSpc>
                <a:spcPct val="100000"/>
              </a:lnSpc>
              <a:buNone/>
              <a:defRPr sz="2400" b="1"/>
            </a:lvl2pPr>
            <a:lvl3pPr marL="182562" indent="0" algn="ctr">
              <a:lnSpc>
                <a:spcPct val="100000"/>
              </a:lnSpc>
              <a:buNone/>
              <a:defRPr sz="2400" b="1"/>
            </a:lvl3pPr>
            <a:lvl4pPr marL="266700" indent="0" algn="ctr">
              <a:lnSpc>
                <a:spcPct val="100000"/>
              </a:lnSpc>
              <a:buNone/>
              <a:defRPr sz="2400" b="1"/>
            </a:lvl4pPr>
            <a:lvl5pPr marL="358775" indent="0" algn="ctr">
              <a:lnSpc>
                <a:spcPct val="100000"/>
              </a:lnSpc>
              <a:buNone/>
              <a:defRPr sz="2400" b="1"/>
            </a:lvl5pPr>
          </a:lstStyle>
          <a:p>
            <a:pPr lvl="0"/>
            <a:r>
              <a:rPr lang="en-US"/>
              <a:t>Mastertextformat bearbeiten</a:t>
            </a:r>
          </a:p>
        </p:txBody>
      </p:sp>
      <p:sp>
        <p:nvSpPr>
          <p:cNvPr id="15" name="Rectangle 15">
            <a:extLst>
              <a:ext uri="{FF2B5EF4-FFF2-40B4-BE49-F238E27FC236}">
                <a16:creationId xmlns:a16="http://schemas.microsoft.com/office/drawing/2014/main" id="{D1148676-8550-4649-B890-71AB994AF7F5}"/>
              </a:ext>
            </a:extLst>
          </p:cNvPr>
          <p:cNvSpPr/>
          <p:nvPr userDrawn="1"/>
        </p:nvSpPr>
        <p:spPr>
          <a:xfrm>
            <a:off x="706056" y="-695325"/>
            <a:ext cx="2540900" cy="525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rtl="0">
              <a:lnSpc>
                <a:spcPct val="120000"/>
              </a:lnSpc>
            </a:pPr>
            <a:r>
              <a:rPr lang="en-US" sz="1400">
                <a:solidFill>
                  <a:schemeClr val="tx1"/>
                </a:solidFill>
              </a:rPr>
              <a:t>Alternative dividers</a:t>
            </a:r>
          </a:p>
        </p:txBody>
      </p:sp>
    </p:spTree>
    <p:extLst>
      <p:ext uri="{BB962C8B-B14F-4D97-AF65-F5344CB8AC3E}">
        <p14:creationId xmlns:p14="http://schemas.microsoft.com/office/powerpoint/2010/main" val="35557637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2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7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5.xml"/><Relationship Id="rId37" Type="http://schemas.openxmlformats.org/officeDocument/2006/relationships/tags" Target="../tags/tag10.xml"/><Relationship Id="rId40" Type="http://schemas.openxmlformats.org/officeDocument/2006/relationships/tags" Target="../tags/tag13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36" Type="http://schemas.openxmlformats.org/officeDocument/2006/relationships/tags" Target="../tags/tag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4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3.xml"/><Relationship Id="rId35" Type="http://schemas.openxmlformats.org/officeDocument/2006/relationships/tags" Target="../tags/tag8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6.xml"/><Relationship Id="rId38" Type="http://schemas.openxmlformats.org/officeDocument/2006/relationships/tags" Target="../tags/tag11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tags" Target="../tags/tag42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29" Type="http://schemas.openxmlformats.org/officeDocument/2006/relationships/image" Target="../media/image15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oleObject" Target="../embeddings/oleObject29.bin"/><Relationship Id="rId30" Type="http://schemas.openxmlformats.org/officeDocument/2006/relationships/image" Target="../media/image16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26" Type="http://schemas.openxmlformats.org/officeDocument/2006/relationships/tags" Target="../tags/tag71.xml"/><Relationship Id="rId3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72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71.xml"/><Relationship Id="rId29" Type="http://schemas.openxmlformats.org/officeDocument/2006/relationships/image" Target="../media/image15.png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slideLayout" Target="../slideLayouts/slideLayout75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slideLayout" Target="../slideLayouts/slideLayout7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slideLayout" Target="../slideLayouts/slideLayout73.xml"/><Relationship Id="rId27" Type="http://schemas.openxmlformats.org/officeDocument/2006/relationships/oleObject" Target="../embeddings/oleObject54.bin"/><Relationship Id="rId30" Type="http://schemas.openxmlformats.org/officeDocument/2006/relationships/image" Target="../media/image16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DCC3C01A-CBA8-43EF-B857-CCEAFD5B9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230840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2" imgW="622" imgH="623" progId="TCLayout.ActiveDocument.1">
                  <p:embed/>
                </p:oleObj>
              </mc:Choice>
              <mc:Fallback>
                <p:oleObj name="think-cell Folie" r:id="rId42" imgW="622" imgH="623" progId="TCLayout.ActiveDocument.1">
                  <p:embed/>
                  <p:pic>
                    <p:nvPicPr>
                      <p:cNvPr id="35" name="Objekt 34" hidden="1">
                        <a:extLst>
                          <a:ext uri="{FF2B5EF4-FFF2-40B4-BE49-F238E27FC236}">
                            <a16:creationId xmlns:a16="http://schemas.microsoft.com/office/drawing/2014/main" id="{DCC3C01A-CBA8-43EF-B857-CCEAFD5B9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8B8F0FA8-23F6-4232-A094-BFF1A8C845B5}"/>
              </a:ext>
            </a:extLst>
          </p:cNvPr>
          <p:cNvSpPr/>
          <p:nvPr userDrawn="1"/>
        </p:nvSpPr>
        <p:spPr>
          <a:xfrm>
            <a:off x="0" y="0"/>
            <a:ext cx="12192000" cy="4048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53262A5-7080-4147-A7DE-2F76B36F3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085846"/>
            <a:ext cx="11376024" cy="800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F08AD7B-D0B5-4600-BAA3-7184AE2412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814" y="1955802"/>
            <a:ext cx="11382372" cy="41186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5A0093-4004-421B-8684-F04B84F7B9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6056" y="0"/>
            <a:ext cx="4140200" cy="4068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609600" indent="-609600" algn="l" rtl="0">
              <a:defRPr sz="1000">
                <a:solidFill>
                  <a:schemeClr val="tx1"/>
                </a:solidFill>
              </a:defRPr>
            </a:lvl1pPr>
          </a:lstStyle>
          <a:p>
            <a:pPr marL="0" indent="0"/>
            <a:r>
              <a:rPr lang="en-US"/>
              <a:t>Chapter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0CFDF5D-3449-4F3B-B1C8-1CE478C891DF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11172825" y="0"/>
            <a:ext cx="1019175" cy="404813"/>
          </a:xfrm>
          <a:prstGeom prst="rect">
            <a:avLst/>
          </a:prstGeom>
        </p:spPr>
      </p:pic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0D494EB1-39F1-4BD5-8B34-79EE5069ECD8}"/>
              </a:ext>
            </a:extLst>
          </p:cNvPr>
          <p:cNvGrpSpPr/>
          <p:nvPr userDrawn="1"/>
        </p:nvGrpSpPr>
        <p:grpSpPr>
          <a:xfrm>
            <a:off x="-891669" y="4709085"/>
            <a:ext cx="684000" cy="853487"/>
            <a:chOff x="-1052307" y="4218790"/>
            <a:chExt cx="684000" cy="853487"/>
          </a:xfrm>
        </p:grpSpPr>
        <p:sp>
          <p:nvSpPr>
            <p:cNvPr id="12" name="Textplatzhalter 10">
              <a:extLst>
                <a:ext uri="{FF2B5EF4-FFF2-40B4-BE49-F238E27FC236}">
                  <a16:creationId xmlns:a16="http://schemas.microsoft.com/office/drawing/2014/main" id="{78B82C11-1049-411A-8DEF-CF84F1DD17E7}"/>
                </a:ext>
              </a:extLst>
            </p:cNvPr>
            <p:cNvSpPr txBox="1">
              <a:spLocks/>
            </p:cNvSpPr>
            <p:nvPr userDrawn="1">
              <p:custDataLst>
                <p:tags r:id="rId38"/>
              </p:custDataLst>
            </p:nvPr>
          </p:nvSpPr>
          <p:spPr>
            <a:xfrm>
              <a:off x="-1052307" y="4218790"/>
              <a:ext cx="684000" cy="123111"/>
            </a:xfrm>
            <a:prstGeom prst="rect">
              <a:avLst/>
            </a:prstGeom>
            <a:noFill/>
          </p:spPr>
          <p:txBody>
            <a:bodyPr vert="horz" lIns="0" tIns="0" rIns="0" bIns="0" rtlCol="0" anchor="t" anchorCtr="0">
              <a:spAutoFit/>
            </a:bodyPr>
            <a:lstStyle>
              <a:defPPr>
                <a:defRPr lang="en-US"/>
              </a:defPPr>
              <a:lvl1pPr indent="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800"/>
              </a:lvl1pPr>
              <a:lvl2pPr marL="108000" lvl="1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itchFamily="2" charset="2"/>
                <a:buChar char=""/>
                <a:defRPr sz="800"/>
              </a:lvl2pPr>
              <a:lvl3pPr marL="216000" lvl="2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3pPr>
              <a:lvl4pPr marL="324000" lvl="3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tabLst/>
                <a:defRPr sz="800"/>
              </a:lvl4pPr>
              <a:lvl5pPr marL="432000" lvl="4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5pPr>
              <a:lvl6pPr marL="540000" lvl="5" indent="-108000" defTabSz="89535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6pPr>
              <a:lvl7pPr marL="648000" lvl="6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7pPr>
              <a:lvl8pPr marL="756000" lvl="7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anose="05050102010706020507" pitchFamily="18" charset="2"/>
                <a:buChar char=""/>
                <a:defRPr sz="800"/>
              </a:lvl8pPr>
              <a:lvl9pPr marL="864000" lvl="8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anose="05050102010706020507" pitchFamily="18" charset="2"/>
                <a:buChar char=""/>
                <a:defRPr sz="800"/>
              </a:lvl9pPr>
            </a:lstStyle>
            <a:p>
              <a:pPr lvl="0" algn="l" rtl="0"/>
              <a:r>
                <a:rPr lang="en-US" sz="800"/>
                <a:t>Shades</a:t>
              </a:r>
            </a:p>
          </p:txBody>
        </p:sp>
        <p:sp>
          <p:nvSpPr>
            <p:cNvPr id="16" name="Textplatzhalter 10">
              <a:extLst>
                <a:ext uri="{FF2B5EF4-FFF2-40B4-BE49-F238E27FC236}">
                  <a16:creationId xmlns:a16="http://schemas.microsoft.com/office/drawing/2014/main" id="{FE1DA2EE-6916-49BE-9198-AEC56EBFB097}"/>
                </a:ext>
              </a:extLst>
            </p:cNvPr>
            <p:cNvSpPr txBox="1">
              <a:spLocks/>
            </p:cNvSpPr>
            <p:nvPr userDrawn="1">
              <p:custDataLst>
                <p:tags r:id="rId39"/>
              </p:custDataLst>
            </p:nvPr>
          </p:nvSpPr>
          <p:spPr>
            <a:xfrm>
              <a:off x="-1052307" y="4611947"/>
              <a:ext cx="684000" cy="216000"/>
            </a:xfrm>
            <a:prstGeom prst="rect">
              <a:avLst/>
            </a:prstGeom>
            <a:solidFill>
              <a:schemeClr val="accent2"/>
            </a:solidFill>
          </p:spPr>
          <p:txBody>
            <a:bodyPr vert="horz" lIns="36000" tIns="36000" rIns="36000" bIns="36000" rtlCol="0" anchor="ctr" anchorCtr="0">
              <a:noAutofit/>
            </a:bodyPr>
            <a:lstStyle>
              <a:defPPr>
                <a:defRPr lang="en-US"/>
              </a:defPPr>
              <a:lvl1pPr lvl="0" indent="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800"/>
              </a:lvl1pPr>
              <a:lvl2pPr marL="108000" lvl="1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itchFamily="2" charset="2"/>
                <a:buChar char=""/>
                <a:defRPr sz="800"/>
              </a:lvl2pPr>
              <a:lvl3pPr marL="216000" lvl="2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3pPr>
              <a:lvl4pPr marL="324000" lvl="3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tabLst/>
                <a:defRPr sz="800"/>
              </a:lvl4pPr>
              <a:lvl5pPr marL="432000" lvl="4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5pPr>
              <a:lvl6pPr marL="540000" lvl="5" indent="-108000" defTabSz="89535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6pPr>
              <a:lvl7pPr marL="648000" lvl="6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7pPr>
              <a:lvl8pPr marL="756000" lvl="7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anose="05050102010706020507" pitchFamily="18" charset="2"/>
                <a:buChar char=""/>
                <a:defRPr sz="800"/>
              </a:lvl8pPr>
              <a:lvl9pPr marL="864000" lvl="8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anose="05050102010706020507" pitchFamily="18" charset="2"/>
                <a:buChar char=""/>
                <a:defRPr sz="800"/>
              </a:lvl9pPr>
            </a:lstStyle>
            <a:p>
              <a:pPr lvl="0" algn="l" rtl="0"/>
              <a:r>
                <a:rPr lang="en-US" sz="800">
                  <a:solidFill>
                    <a:schemeClr val="bg1"/>
                  </a:solidFill>
                </a:rPr>
                <a:t>Aa</a:t>
              </a:r>
            </a:p>
          </p:txBody>
        </p:sp>
        <p:sp>
          <p:nvSpPr>
            <p:cNvPr id="17" name="Textplatzhalter 10">
              <a:extLst>
                <a:ext uri="{FF2B5EF4-FFF2-40B4-BE49-F238E27FC236}">
                  <a16:creationId xmlns:a16="http://schemas.microsoft.com/office/drawing/2014/main" id="{7A77C73A-A4A5-4C8A-BDD6-642FC7DA7803}"/>
                </a:ext>
              </a:extLst>
            </p:cNvPr>
            <p:cNvSpPr txBox="1">
              <a:spLocks/>
            </p:cNvSpPr>
            <p:nvPr userDrawn="1">
              <p:custDataLst>
                <p:tags r:id="rId40"/>
              </p:custDataLst>
            </p:nvPr>
          </p:nvSpPr>
          <p:spPr>
            <a:xfrm>
              <a:off x="-1052307" y="4856277"/>
              <a:ext cx="684000" cy="216000"/>
            </a:xfrm>
            <a:prstGeom prst="rect">
              <a:avLst/>
            </a:prstGeom>
            <a:solidFill>
              <a:schemeClr val="accent3"/>
            </a:solidFill>
          </p:spPr>
          <p:txBody>
            <a:bodyPr vert="horz" lIns="36000" tIns="36000" rIns="36000" bIns="36000" rtlCol="0" anchor="ctr" anchorCtr="0">
              <a:noAutofit/>
            </a:bodyPr>
            <a:lstStyle>
              <a:defPPr>
                <a:defRPr lang="en-US"/>
              </a:defPPr>
              <a:lvl1pPr indent="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800"/>
              </a:lvl1pPr>
              <a:lvl2pPr marL="108000" lvl="1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itchFamily="2" charset="2"/>
                <a:buChar char=""/>
                <a:defRPr sz="800"/>
              </a:lvl2pPr>
              <a:lvl3pPr marL="216000" lvl="2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3pPr>
              <a:lvl4pPr marL="324000" lvl="3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tabLst/>
                <a:defRPr sz="800"/>
              </a:lvl4pPr>
              <a:lvl5pPr marL="432000" lvl="4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5pPr>
              <a:lvl6pPr marL="540000" lvl="5" indent="-108000" defTabSz="89535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6pPr>
              <a:lvl7pPr marL="648000" lvl="6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7pPr>
              <a:lvl8pPr marL="756000" lvl="7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anose="05050102010706020507" pitchFamily="18" charset="2"/>
                <a:buChar char=""/>
                <a:defRPr sz="800"/>
              </a:lvl8pPr>
              <a:lvl9pPr marL="864000" lvl="8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anose="05050102010706020507" pitchFamily="18" charset="2"/>
                <a:buChar char=""/>
                <a:defRPr sz="800"/>
              </a:lvl9pPr>
            </a:lstStyle>
            <a:p>
              <a:pPr lvl="0" algn="l" rtl="0"/>
              <a:r>
                <a:rPr lang="en-US" sz="800"/>
                <a:t>Aa</a:t>
              </a:r>
            </a:p>
          </p:txBody>
        </p:sp>
        <p:sp>
          <p:nvSpPr>
            <p:cNvPr id="19" name="Textplatzhalter 10">
              <a:extLst>
                <a:ext uri="{FF2B5EF4-FFF2-40B4-BE49-F238E27FC236}">
                  <a16:creationId xmlns:a16="http://schemas.microsoft.com/office/drawing/2014/main" id="{34DF3CD0-D14C-4E4B-B0C1-E637D6C5D48C}"/>
                </a:ext>
              </a:extLst>
            </p:cNvPr>
            <p:cNvSpPr txBox="1">
              <a:spLocks/>
            </p:cNvSpPr>
            <p:nvPr userDrawn="1">
              <p:custDataLst>
                <p:tags r:id="rId41"/>
              </p:custDataLst>
            </p:nvPr>
          </p:nvSpPr>
          <p:spPr>
            <a:xfrm>
              <a:off x="-1052307" y="4367617"/>
              <a:ext cx="684000" cy="216000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36000" tIns="36000" rIns="36000" bIns="36000" rtlCol="0" anchor="ctr" anchorCtr="0">
              <a:noAutofit/>
            </a:bodyPr>
            <a:lstStyle>
              <a:defPPr>
                <a:defRPr lang="en-US"/>
              </a:defPPr>
              <a:lvl1pPr indent="0">
                <a:lnSpc>
                  <a:spcPct val="100000"/>
                </a:lnSpc>
                <a:spcBef>
                  <a:spcPts val="0"/>
                </a:spcBef>
                <a:buClrTx/>
                <a:buFont typeface="Arial" pitchFamily="34" charset="0"/>
                <a:buNone/>
                <a:defRPr sz="800">
                  <a:solidFill>
                    <a:schemeClr val="bg1"/>
                  </a:solidFill>
                </a:defRPr>
              </a:lvl1pPr>
              <a:lvl2pPr marL="108000" lvl="1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Wingdings" pitchFamily="2" charset="2"/>
                <a:buChar char=""/>
                <a:defRPr sz="800">
                  <a:solidFill>
                    <a:schemeClr val="bg1"/>
                  </a:solidFill>
                </a:defRPr>
              </a:lvl2pPr>
              <a:lvl3pPr marL="216000" lvl="2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3pPr>
              <a:lvl4pPr marL="324000" lvl="3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tabLst/>
                <a:defRPr sz="800">
                  <a:solidFill>
                    <a:schemeClr val="bg1"/>
                  </a:solidFill>
                </a:defRPr>
              </a:lvl4pPr>
              <a:lvl5pPr marL="432000" lvl="4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5pPr>
              <a:lvl6pPr marL="540000" lvl="5" indent="-108000" defTabSz="89535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6pPr>
              <a:lvl7pPr marL="648000" lvl="6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7pPr>
              <a:lvl8pPr marL="756000" lvl="7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anose="05050102010706020507" pitchFamily="18" charset="2"/>
                <a:buChar char=""/>
                <a:defRPr sz="800">
                  <a:solidFill>
                    <a:schemeClr val="bg1"/>
                  </a:solidFill>
                </a:defRPr>
              </a:lvl8pPr>
              <a:lvl9pPr marL="864000" lvl="8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anose="05050102010706020507" pitchFamily="18" charset="2"/>
                <a:buChar char=""/>
                <a:defRPr sz="800">
                  <a:solidFill>
                    <a:schemeClr val="bg1"/>
                  </a:solidFill>
                </a:defRPr>
              </a:lvl9pPr>
            </a:lstStyle>
            <a:p>
              <a:pPr lvl="0" algn="l" rtl="0"/>
              <a:r>
                <a:rPr lang="en-US" sz="800"/>
                <a:t>Aa</a:t>
              </a: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482235AE-2677-4607-970C-E74E4D472EA9}"/>
              </a:ext>
            </a:extLst>
          </p:cNvPr>
          <p:cNvGrpSpPr/>
          <p:nvPr userDrawn="1"/>
        </p:nvGrpSpPr>
        <p:grpSpPr>
          <a:xfrm>
            <a:off x="-891669" y="2470146"/>
            <a:ext cx="684000" cy="602566"/>
            <a:chOff x="-1052307" y="1979851"/>
            <a:chExt cx="684000" cy="602566"/>
          </a:xfrm>
        </p:grpSpPr>
        <p:sp>
          <p:nvSpPr>
            <p:cNvPr id="21" name="Textplatzhalter 10">
              <a:extLst>
                <a:ext uri="{FF2B5EF4-FFF2-40B4-BE49-F238E27FC236}">
                  <a16:creationId xmlns:a16="http://schemas.microsoft.com/office/drawing/2014/main" id="{6D5C65BB-C663-438A-98ED-311C3BC9D6FC}"/>
                </a:ext>
              </a:extLst>
            </p:cNvPr>
            <p:cNvSpPr txBox="1">
              <a:spLocks/>
            </p:cNvSpPr>
            <p:nvPr userDrawn="1">
              <p:custDataLst>
                <p:tags r:id="rId35"/>
              </p:custDataLst>
            </p:nvPr>
          </p:nvSpPr>
          <p:spPr>
            <a:xfrm>
              <a:off x="-1052307" y="2125827"/>
              <a:ext cx="684000" cy="216000"/>
            </a:xfrm>
            <a:prstGeom prst="rect">
              <a:avLst/>
            </a:prstGeom>
            <a:solidFill>
              <a:schemeClr val="accent4"/>
            </a:solidFill>
          </p:spPr>
          <p:txBody>
            <a:bodyPr vert="horz" lIns="36000" tIns="36000" rIns="36000" bIns="36000" rtlCol="0" anchor="ctr" anchorCtr="0">
              <a:noAutofit/>
            </a:bodyPr>
            <a:lstStyle>
              <a:defPPr>
                <a:defRPr lang="en-US"/>
              </a:defPPr>
              <a:lvl1pPr indent="0">
                <a:lnSpc>
                  <a:spcPct val="100000"/>
                </a:lnSpc>
                <a:spcBef>
                  <a:spcPts val="0"/>
                </a:spcBef>
                <a:buClrTx/>
                <a:buFont typeface="Arial" pitchFamily="34" charset="0"/>
                <a:buNone/>
                <a:defRPr sz="800">
                  <a:solidFill>
                    <a:schemeClr val="bg1"/>
                  </a:solidFill>
                </a:defRPr>
              </a:lvl1pPr>
              <a:lvl2pPr marL="108000" lvl="1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Wingdings" pitchFamily="2" charset="2"/>
                <a:buChar char=""/>
                <a:defRPr sz="800">
                  <a:solidFill>
                    <a:schemeClr val="bg1"/>
                  </a:solidFill>
                </a:defRPr>
              </a:lvl2pPr>
              <a:lvl3pPr marL="216000" lvl="2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3pPr>
              <a:lvl4pPr marL="324000" lvl="3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tabLst/>
                <a:defRPr sz="800">
                  <a:solidFill>
                    <a:schemeClr val="bg1"/>
                  </a:solidFill>
                </a:defRPr>
              </a:lvl4pPr>
              <a:lvl5pPr marL="432000" lvl="4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5pPr>
              <a:lvl6pPr marL="540000" lvl="5" indent="-108000" defTabSz="89535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6pPr>
              <a:lvl7pPr marL="648000" lvl="6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7pPr>
              <a:lvl8pPr marL="756000" lvl="7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anose="05050102010706020507" pitchFamily="18" charset="2"/>
                <a:buChar char=""/>
                <a:defRPr sz="800">
                  <a:solidFill>
                    <a:schemeClr val="bg1"/>
                  </a:solidFill>
                </a:defRPr>
              </a:lvl8pPr>
              <a:lvl9pPr marL="864000" lvl="8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anose="05050102010706020507" pitchFamily="18" charset="2"/>
                <a:buChar char=""/>
                <a:defRPr sz="800">
                  <a:solidFill>
                    <a:schemeClr val="bg1"/>
                  </a:solidFill>
                </a:defRPr>
              </a:lvl9pPr>
            </a:lstStyle>
            <a:p>
              <a:pPr lvl="0" algn="l" rtl="0"/>
              <a:r>
                <a:rPr lang="en-US" sz="800"/>
                <a:t>Aa</a:t>
              </a:r>
            </a:p>
          </p:txBody>
        </p:sp>
        <p:sp>
          <p:nvSpPr>
            <p:cNvPr id="22" name="Textplatzhalter 10">
              <a:extLst>
                <a:ext uri="{FF2B5EF4-FFF2-40B4-BE49-F238E27FC236}">
                  <a16:creationId xmlns:a16="http://schemas.microsoft.com/office/drawing/2014/main" id="{D0B12A6E-A95A-4937-80A0-CD6A6E31BA44}"/>
                </a:ext>
              </a:extLst>
            </p:cNvPr>
            <p:cNvSpPr txBox="1">
              <a:spLocks/>
            </p:cNvSpPr>
            <p:nvPr userDrawn="1">
              <p:custDataLst>
                <p:tags r:id="rId36"/>
              </p:custDataLst>
            </p:nvPr>
          </p:nvSpPr>
          <p:spPr>
            <a:xfrm>
              <a:off x="-1052307" y="2366417"/>
              <a:ext cx="684000" cy="216000"/>
            </a:xfrm>
            <a:prstGeom prst="rect">
              <a:avLst/>
            </a:prstGeom>
            <a:solidFill>
              <a:schemeClr val="accent5"/>
            </a:solidFill>
          </p:spPr>
          <p:txBody>
            <a:bodyPr vert="horz" lIns="36000" tIns="36000" rIns="36000" bIns="36000" rtlCol="0" anchor="ctr" anchorCtr="0">
              <a:noAutofit/>
            </a:bodyPr>
            <a:lstStyle>
              <a:defPPr>
                <a:defRPr lang="en-US"/>
              </a:defPPr>
              <a:lvl1pPr indent="0">
                <a:lnSpc>
                  <a:spcPct val="100000"/>
                </a:lnSpc>
                <a:spcBef>
                  <a:spcPts val="0"/>
                </a:spcBef>
                <a:buClrTx/>
                <a:buFont typeface="Arial" pitchFamily="34" charset="0"/>
                <a:buNone/>
                <a:defRPr sz="800">
                  <a:solidFill>
                    <a:schemeClr val="bg1"/>
                  </a:solidFill>
                </a:defRPr>
              </a:lvl1pPr>
              <a:lvl2pPr marL="108000" lvl="1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Wingdings" pitchFamily="2" charset="2"/>
                <a:buChar char=""/>
                <a:defRPr sz="800">
                  <a:solidFill>
                    <a:schemeClr val="bg1"/>
                  </a:solidFill>
                </a:defRPr>
              </a:lvl2pPr>
              <a:lvl3pPr marL="216000" lvl="2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3pPr>
              <a:lvl4pPr marL="324000" lvl="3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tabLst/>
                <a:defRPr sz="800">
                  <a:solidFill>
                    <a:schemeClr val="bg1"/>
                  </a:solidFill>
                </a:defRPr>
              </a:lvl4pPr>
              <a:lvl5pPr marL="432000" lvl="4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5pPr>
              <a:lvl6pPr marL="540000" lvl="5" indent="-108000" defTabSz="89535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6pPr>
              <a:lvl7pPr marL="648000" lvl="6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7pPr>
              <a:lvl8pPr marL="756000" lvl="7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anose="05050102010706020507" pitchFamily="18" charset="2"/>
                <a:buChar char=""/>
                <a:defRPr sz="800">
                  <a:solidFill>
                    <a:schemeClr val="bg1"/>
                  </a:solidFill>
                </a:defRPr>
              </a:lvl8pPr>
              <a:lvl9pPr marL="864000" lvl="8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anose="05050102010706020507" pitchFamily="18" charset="2"/>
                <a:buChar char=""/>
                <a:defRPr sz="800">
                  <a:solidFill>
                    <a:schemeClr val="bg1"/>
                  </a:solidFill>
                </a:defRPr>
              </a:lvl9pPr>
            </a:lstStyle>
            <a:p>
              <a:pPr lvl="0" algn="l" rtl="0"/>
              <a:r>
                <a:rPr lang="en-US" sz="800"/>
                <a:t>Aa</a:t>
              </a:r>
            </a:p>
          </p:txBody>
        </p:sp>
        <p:sp>
          <p:nvSpPr>
            <p:cNvPr id="23" name="Textplatzhalter 10">
              <a:extLst>
                <a:ext uri="{FF2B5EF4-FFF2-40B4-BE49-F238E27FC236}">
                  <a16:creationId xmlns:a16="http://schemas.microsoft.com/office/drawing/2014/main" id="{283BF56E-ECFF-4D6B-8AFF-9B64F8900688}"/>
                </a:ext>
              </a:extLst>
            </p:cNvPr>
            <p:cNvSpPr txBox="1">
              <a:spLocks/>
            </p:cNvSpPr>
            <p:nvPr userDrawn="1">
              <p:custDataLst>
                <p:tags r:id="rId37"/>
              </p:custDataLst>
            </p:nvPr>
          </p:nvSpPr>
          <p:spPr>
            <a:xfrm>
              <a:off x="-1052307" y="1979851"/>
              <a:ext cx="684000" cy="123111"/>
            </a:xfrm>
            <a:prstGeom prst="rect">
              <a:avLst/>
            </a:prstGeom>
            <a:noFill/>
          </p:spPr>
          <p:txBody>
            <a:bodyPr vert="horz" lIns="0" tIns="0" rIns="0" bIns="0" rtlCol="0" anchor="t" anchorCtr="0">
              <a:spAutoFit/>
            </a:bodyPr>
            <a:lstStyle>
              <a:defPPr>
                <a:defRPr lang="en-US"/>
              </a:defPPr>
              <a:lvl1pPr indent="0" algn="ctr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800"/>
              </a:lvl1pPr>
              <a:lvl2pPr marL="108000" lvl="1" indent="-108000" algn="ctr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itchFamily="2" charset="2"/>
                <a:buChar char=""/>
                <a:defRPr sz="800"/>
              </a:lvl2pPr>
              <a:lvl3pPr marL="216000" lvl="2" indent="-108000" algn="ctr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3pPr>
              <a:lvl4pPr marL="324000" lvl="3" indent="-108000" algn="ctr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tabLst/>
                <a:defRPr sz="800"/>
              </a:lvl4pPr>
              <a:lvl5pPr marL="432000" lvl="4" indent="-108000" algn="ctr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5pPr>
              <a:lvl6pPr marL="540000" lvl="5" indent="-108000" algn="ctr" defTabSz="89535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6pPr>
              <a:lvl7pPr marL="648000" lvl="6" indent="-108000" algn="ctr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7pPr>
              <a:lvl8pPr marL="756000" lvl="7" indent="-108000" algn="ctr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anose="05050102010706020507" pitchFamily="18" charset="2"/>
                <a:buChar char=""/>
                <a:defRPr sz="800"/>
              </a:lvl8pPr>
              <a:lvl9pPr marL="864000" lvl="8" indent="-108000" algn="ctr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anose="05050102010706020507" pitchFamily="18" charset="2"/>
                <a:buChar char=""/>
                <a:defRPr sz="800"/>
              </a:lvl9pPr>
            </a:lstStyle>
            <a:p>
              <a:pPr lvl="0" algn="l" rtl="0"/>
              <a:r>
                <a:rPr lang="en-US" sz="800" noProof="0"/>
                <a:t>Signal colors</a:t>
              </a: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F07D1E18-4670-4038-BE7B-E4F85EB7D218}"/>
              </a:ext>
            </a:extLst>
          </p:cNvPr>
          <p:cNvGrpSpPr/>
          <p:nvPr userDrawn="1"/>
        </p:nvGrpSpPr>
        <p:grpSpPr>
          <a:xfrm>
            <a:off x="-891669" y="3285433"/>
            <a:ext cx="684000" cy="1104667"/>
            <a:chOff x="-1052307" y="2845181"/>
            <a:chExt cx="684000" cy="1104667"/>
          </a:xfrm>
        </p:grpSpPr>
        <p:sp>
          <p:nvSpPr>
            <p:cNvPr id="10" name="Textplatzhalter 10">
              <a:extLst>
                <a:ext uri="{FF2B5EF4-FFF2-40B4-BE49-F238E27FC236}">
                  <a16:creationId xmlns:a16="http://schemas.microsoft.com/office/drawing/2014/main" id="{C9B6CE96-A9A4-4B5F-B6F3-10451349AC39}"/>
                </a:ext>
              </a:extLst>
            </p:cNvPr>
            <p:cNvSpPr txBox="1">
              <a:spLocks/>
            </p:cNvSpPr>
            <p:nvPr userDrawn="1">
              <p:custDataLst>
                <p:tags r:id="rId30"/>
              </p:custDataLst>
            </p:nvPr>
          </p:nvSpPr>
          <p:spPr>
            <a:xfrm>
              <a:off x="-1052307" y="2845181"/>
              <a:ext cx="684000" cy="123111"/>
            </a:xfrm>
            <a:prstGeom prst="rect">
              <a:avLst/>
            </a:prstGeom>
            <a:noFill/>
          </p:spPr>
          <p:txBody>
            <a:bodyPr vert="horz" lIns="0" tIns="0" rIns="0" bIns="0" rtlCol="0" anchor="t" anchorCtr="0">
              <a:spAutoFit/>
            </a:bodyPr>
            <a:lstStyle>
              <a:defPPr>
                <a:defRPr lang="en-US"/>
              </a:defPPr>
              <a:lvl1pPr indent="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800"/>
              </a:lvl1pPr>
              <a:lvl2pPr marL="108000" lvl="1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itchFamily="2" charset="2"/>
                <a:buChar char=""/>
                <a:defRPr sz="800"/>
              </a:lvl2pPr>
              <a:lvl3pPr marL="216000" lvl="2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3pPr>
              <a:lvl4pPr marL="324000" lvl="3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tabLst/>
                <a:defRPr sz="800"/>
              </a:lvl4pPr>
              <a:lvl5pPr marL="432000" lvl="4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5pPr>
              <a:lvl6pPr marL="540000" lvl="5" indent="-108000" defTabSz="89535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6pPr>
              <a:lvl7pPr marL="648000" lvl="6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7pPr>
              <a:lvl8pPr marL="756000" lvl="7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anose="05050102010706020507" pitchFamily="18" charset="2"/>
                <a:buChar char=""/>
                <a:defRPr sz="800"/>
              </a:lvl8pPr>
              <a:lvl9pPr marL="864000" lvl="8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anose="05050102010706020507" pitchFamily="18" charset="2"/>
                <a:buChar char=""/>
                <a:defRPr sz="800"/>
              </a:lvl9pPr>
            </a:lstStyle>
            <a:p>
              <a:pPr lvl="0" algn="l" rtl="0"/>
              <a:r>
                <a:rPr lang="en-US" sz="800"/>
                <a:t>Boxes/Areas</a:t>
              </a:r>
            </a:p>
          </p:txBody>
        </p:sp>
        <p:sp>
          <p:nvSpPr>
            <p:cNvPr id="13" name="Textplatzhalter 10">
              <a:extLst>
                <a:ext uri="{FF2B5EF4-FFF2-40B4-BE49-F238E27FC236}">
                  <a16:creationId xmlns:a16="http://schemas.microsoft.com/office/drawing/2014/main" id="{62451F69-660F-437B-98DA-67B1271CC976}"/>
                </a:ext>
              </a:extLst>
            </p:cNvPr>
            <p:cNvSpPr txBox="1">
              <a:spLocks/>
            </p:cNvSpPr>
            <p:nvPr userDrawn="1">
              <p:custDataLst>
                <p:tags r:id="rId31"/>
              </p:custDataLst>
            </p:nvPr>
          </p:nvSpPr>
          <p:spPr>
            <a:xfrm>
              <a:off x="-1052307" y="3486011"/>
              <a:ext cx="684000" cy="21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lIns="36000" tIns="36000" rIns="36000" bIns="36000" rtlCol="0" anchor="ctr" anchorCtr="0">
              <a:noAutofit/>
            </a:bodyPr>
            <a:lstStyle>
              <a:defPPr>
                <a:defRPr lang="en-US"/>
              </a:defPPr>
              <a:lvl1pPr indent="0">
                <a:lnSpc>
                  <a:spcPct val="100000"/>
                </a:lnSpc>
                <a:spcBef>
                  <a:spcPts val="0"/>
                </a:spcBef>
                <a:buClrTx/>
                <a:buFont typeface="Arial" pitchFamily="34" charset="0"/>
                <a:buNone/>
                <a:defRPr sz="800">
                  <a:solidFill>
                    <a:schemeClr val="bg1"/>
                  </a:solidFill>
                </a:defRPr>
              </a:lvl1pPr>
              <a:lvl2pPr marL="108000" lvl="1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Wingdings" pitchFamily="2" charset="2"/>
                <a:buChar char=""/>
                <a:defRPr sz="800">
                  <a:solidFill>
                    <a:schemeClr val="bg1"/>
                  </a:solidFill>
                </a:defRPr>
              </a:lvl2pPr>
              <a:lvl3pPr marL="216000" lvl="2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3pPr>
              <a:lvl4pPr marL="324000" lvl="3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tabLst/>
                <a:defRPr sz="800">
                  <a:solidFill>
                    <a:schemeClr val="bg1"/>
                  </a:solidFill>
                </a:defRPr>
              </a:lvl4pPr>
              <a:lvl5pPr marL="432000" lvl="4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5pPr>
              <a:lvl6pPr marL="540000" lvl="5" indent="-108000" defTabSz="89535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6pPr>
              <a:lvl7pPr marL="648000" lvl="6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7pPr>
              <a:lvl8pPr marL="756000" lvl="7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anose="05050102010706020507" pitchFamily="18" charset="2"/>
                <a:buChar char=""/>
                <a:defRPr sz="800">
                  <a:solidFill>
                    <a:schemeClr val="bg1"/>
                  </a:solidFill>
                </a:defRPr>
              </a:lvl8pPr>
              <a:lvl9pPr marL="864000" lvl="8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anose="05050102010706020507" pitchFamily="18" charset="2"/>
                <a:buChar char=""/>
                <a:defRPr sz="800">
                  <a:solidFill>
                    <a:schemeClr val="bg1"/>
                  </a:solidFill>
                </a:defRPr>
              </a:lvl9pPr>
            </a:lstStyle>
            <a:p>
              <a:pPr lvl="0" algn="l" rtl="0"/>
              <a:r>
                <a:rPr lang="en-US" sz="800"/>
                <a:t>Aa</a:t>
              </a:r>
            </a:p>
          </p:txBody>
        </p:sp>
        <p:sp>
          <p:nvSpPr>
            <p:cNvPr id="14" name="Textplatzhalter 10">
              <a:extLst>
                <a:ext uri="{FF2B5EF4-FFF2-40B4-BE49-F238E27FC236}">
                  <a16:creationId xmlns:a16="http://schemas.microsoft.com/office/drawing/2014/main" id="{5F344FAF-40BC-4379-AE84-E2A33C60BFA6}"/>
                </a:ext>
              </a:extLst>
            </p:cNvPr>
            <p:cNvSpPr txBox="1">
              <a:spLocks/>
            </p:cNvSpPr>
            <p:nvPr userDrawn="1">
              <p:custDataLst>
                <p:tags r:id="rId32"/>
              </p:custDataLst>
            </p:nvPr>
          </p:nvSpPr>
          <p:spPr>
            <a:xfrm>
              <a:off x="-1052307" y="3238174"/>
              <a:ext cx="684000" cy="216000"/>
            </a:xfrm>
            <a:prstGeom prst="rect">
              <a:avLst/>
            </a:prstGeom>
            <a:solidFill>
              <a:schemeClr val="accent6"/>
            </a:solidFill>
            <a:ln w="3175">
              <a:solidFill>
                <a:schemeClr val="bg1"/>
              </a:solidFill>
            </a:ln>
          </p:spPr>
          <p:txBody>
            <a:bodyPr vert="horz" lIns="36000" tIns="36000" rIns="36000" bIns="36000" rtlCol="0" anchor="ctr" anchorCtr="0">
              <a:noAutofit/>
            </a:bodyPr>
            <a:lstStyle>
              <a:defPPr>
                <a:defRPr lang="en-US"/>
              </a:defPPr>
              <a:lvl1pPr indent="0">
                <a:lnSpc>
                  <a:spcPct val="100000"/>
                </a:lnSpc>
                <a:spcBef>
                  <a:spcPts val="0"/>
                </a:spcBef>
                <a:buClrTx/>
                <a:buFont typeface="Arial" pitchFamily="34" charset="0"/>
                <a:buNone/>
                <a:defRPr sz="800">
                  <a:solidFill>
                    <a:schemeClr val="bg1"/>
                  </a:solidFill>
                </a:defRPr>
              </a:lvl1pPr>
              <a:lvl2pPr marL="108000" lvl="1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Wingdings" pitchFamily="2" charset="2"/>
                <a:buChar char=""/>
                <a:defRPr sz="800">
                  <a:solidFill>
                    <a:schemeClr val="bg1"/>
                  </a:solidFill>
                </a:defRPr>
              </a:lvl2pPr>
              <a:lvl3pPr marL="216000" lvl="2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3pPr>
              <a:lvl4pPr marL="324000" lvl="3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tabLst/>
                <a:defRPr sz="800">
                  <a:solidFill>
                    <a:schemeClr val="bg1"/>
                  </a:solidFill>
                </a:defRPr>
              </a:lvl4pPr>
              <a:lvl5pPr marL="432000" lvl="4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5pPr>
              <a:lvl6pPr marL="540000" lvl="5" indent="-108000" defTabSz="89535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6pPr>
              <a:lvl7pPr marL="648000" lvl="6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7pPr>
              <a:lvl8pPr marL="756000" lvl="7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anose="05050102010706020507" pitchFamily="18" charset="2"/>
                <a:buChar char=""/>
                <a:defRPr sz="800">
                  <a:solidFill>
                    <a:schemeClr val="bg1"/>
                  </a:solidFill>
                </a:defRPr>
              </a:lvl8pPr>
              <a:lvl9pPr marL="864000" lvl="8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anose="05050102010706020507" pitchFamily="18" charset="2"/>
                <a:buChar char=""/>
                <a:defRPr sz="800">
                  <a:solidFill>
                    <a:schemeClr val="bg1"/>
                  </a:solidFill>
                </a:defRPr>
              </a:lvl9pPr>
            </a:lstStyle>
            <a:p>
              <a:pPr lvl="0" algn="l" rtl="0"/>
              <a:r>
                <a:rPr lang="en-US" sz="800">
                  <a:solidFill>
                    <a:sysClr val="windowText" lastClr="000000"/>
                  </a:solidFill>
                </a:rPr>
                <a:t>Aa</a:t>
              </a:r>
            </a:p>
          </p:txBody>
        </p:sp>
        <p:sp>
          <p:nvSpPr>
            <p:cNvPr id="24" name="Textplatzhalter 10">
              <a:extLst>
                <a:ext uri="{FF2B5EF4-FFF2-40B4-BE49-F238E27FC236}">
                  <a16:creationId xmlns:a16="http://schemas.microsoft.com/office/drawing/2014/main" id="{43CFDD0C-CBE6-4239-AA32-C4C8CA24BE60}"/>
                </a:ext>
              </a:extLst>
            </p:cNvPr>
            <p:cNvSpPr txBox="1">
              <a:spLocks/>
            </p:cNvSpPr>
            <p:nvPr userDrawn="1">
              <p:custDataLst>
                <p:tags r:id="rId33"/>
              </p:custDataLst>
            </p:nvPr>
          </p:nvSpPr>
          <p:spPr>
            <a:xfrm>
              <a:off x="-1052307" y="3733848"/>
              <a:ext cx="684000" cy="216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lIns="36000" tIns="36000" rIns="36000" bIns="36000" rtlCol="0" anchor="ctr" anchorCtr="0">
              <a:noAutofit/>
            </a:bodyPr>
            <a:lstStyle>
              <a:defPPr>
                <a:defRPr lang="en-US"/>
              </a:defPPr>
              <a:lvl1pPr indent="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800"/>
              </a:lvl1pPr>
              <a:lvl2pPr marL="108000" lvl="1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Wingdings" pitchFamily="2" charset="2"/>
                <a:buChar char=""/>
                <a:defRPr sz="800"/>
              </a:lvl2pPr>
              <a:lvl3pPr marL="216000" lvl="2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3pPr>
              <a:lvl4pPr marL="324000" lvl="3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tabLst/>
                <a:defRPr sz="800"/>
              </a:lvl4pPr>
              <a:lvl5pPr marL="432000" lvl="4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5pPr>
              <a:lvl6pPr marL="540000" lvl="5" indent="-108000" defTabSz="89535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6pPr>
              <a:lvl7pPr marL="648000" lvl="6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itchFamily="18" charset="2"/>
                <a:buChar char=""/>
                <a:defRPr sz="800"/>
              </a:lvl7pPr>
              <a:lvl8pPr marL="756000" lvl="7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anose="05050102010706020507" pitchFamily="18" charset="2"/>
                <a:buChar char=""/>
                <a:defRPr sz="800"/>
              </a:lvl8pPr>
              <a:lvl9pPr marL="864000" lvl="8" indent="-108000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SzPct val="100000"/>
                <a:buFont typeface="Symbol" panose="05050102010706020507" pitchFamily="18" charset="2"/>
                <a:buChar char=""/>
                <a:defRPr sz="800"/>
              </a:lvl9pPr>
            </a:lstStyle>
            <a:p>
              <a:pPr lvl="0" algn="l" rtl="0"/>
              <a:r>
                <a:rPr lang="en-US" sz="800"/>
                <a:t>Aa</a:t>
              </a:r>
            </a:p>
          </p:txBody>
        </p:sp>
        <p:sp>
          <p:nvSpPr>
            <p:cNvPr id="26" name="Textplatzhalter 10">
              <a:extLst>
                <a:ext uri="{FF2B5EF4-FFF2-40B4-BE49-F238E27FC236}">
                  <a16:creationId xmlns:a16="http://schemas.microsoft.com/office/drawing/2014/main" id="{7B4706BD-3D78-44E3-966C-45C2EBBBCB84}"/>
                </a:ext>
              </a:extLst>
            </p:cNvPr>
            <p:cNvSpPr txBox="1">
              <a:spLocks/>
            </p:cNvSpPr>
            <p:nvPr userDrawn="1">
              <p:custDataLst>
                <p:tags r:id="rId34"/>
              </p:custDataLst>
            </p:nvPr>
          </p:nvSpPr>
          <p:spPr>
            <a:xfrm>
              <a:off x="-1052307" y="2994008"/>
              <a:ext cx="684000" cy="21600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txBody>
            <a:bodyPr vert="horz" lIns="36000" tIns="36000" rIns="36000" bIns="36000" rtlCol="0" anchor="ctr" anchorCtr="0">
              <a:noAutofit/>
            </a:bodyPr>
            <a:lstStyle>
              <a:defPPr>
                <a:defRPr lang="en-US"/>
              </a:defPPr>
              <a:lvl1pPr indent="0">
                <a:lnSpc>
                  <a:spcPct val="100000"/>
                </a:lnSpc>
                <a:spcBef>
                  <a:spcPts val="0"/>
                </a:spcBef>
                <a:buClrTx/>
                <a:buFont typeface="Arial" pitchFamily="34" charset="0"/>
                <a:buNone/>
                <a:defRPr sz="800">
                  <a:solidFill>
                    <a:schemeClr val="bg1"/>
                  </a:solidFill>
                </a:defRPr>
              </a:lvl1pPr>
              <a:lvl2pPr marL="108000" lvl="1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Wingdings" pitchFamily="2" charset="2"/>
                <a:buChar char=""/>
                <a:defRPr sz="800">
                  <a:solidFill>
                    <a:schemeClr val="bg1"/>
                  </a:solidFill>
                </a:defRPr>
              </a:lvl2pPr>
              <a:lvl3pPr marL="216000" lvl="2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3pPr>
              <a:lvl4pPr marL="324000" lvl="3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tabLst/>
                <a:defRPr sz="800">
                  <a:solidFill>
                    <a:schemeClr val="bg1"/>
                  </a:solidFill>
                </a:defRPr>
              </a:lvl4pPr>
              <a:lvl5pPr marL="432000" lvl="4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5pPr>
              <a:lvl6pPr marL="540000" lvl="5" indent="-108000" defTabSz="89535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6pPr>
              <a:lvl7pPr marL="648000" lvl="6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itchFamily="18" charset="2"/>
                <a:buChar char=""/>
                <a:defRPr sz="800">
                  <a:solidFill>
                    <a:schemeClr val="bg1"/>
                  </a:solidFill>
                </a:defRPr>
              </a:lvl7pPr>
              <a:lvl8pPr marL="756000" lvl="7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anose="05050102010706020507" pitchFamily="18" charset="2"/>
                <a:buChar char=""/>
                <a:defRPr sz="800">
                  <a:solidFill>
                    <a:schemeClr val="bg1"/>
                  </a:solidFill>
                </a:defRPr>
              </a:lvl8pPr>
              <a:lvl9pPr marL="864000" lvl="8" indent="-108000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 typeface="Symbol" panose="05050102010706020507" pitchFamily="18" charset="2"/>
                <a:buChar char=""/>
                <a:defRPr sz="800">
                  <a:solidFill>
                    <a:schemeClr val="bg1"/>
                  </a:solidFill>
                </a:defRPr>
              </a:lvl9pPr>
            </a:lstStyle>
            <a:p>
              <a:pPr lvl="0" algn="l" rtl="0"/>
              <a:r>
                <a:rPr lang="en-US" sz="800">
                  <a:solidFill>
                    <a:sysClr val="windowText" lastClr="000000"/>
                  </a:solidFill>
                </a:rPr>
                <a:t>Aa</a:t>
              </a:r>
            </a:p>
          </p:txBody>
        </p:sp>
      </p:grpSp>
      <p:sp>
        <p:nvSpPr>
          <p:cNvPr id="25" name="Foliennummernplatzhalter 3">
            <a:extLst>
              <a:ext uri="{FF2B5EF4-FFF2-40B4-BE49-F238E27FC236}">
                <a16:creationId xmlns:a16="http://schemas.microsoft.com/office/drawing/2014/main" id="{14F6F8B9-4856-4442-A405-7AC55A2FC069}"/>
              </a:ext>
            </a:extLst>
          </p:cNvPr>
          <p:cNvSpPr txBox="1">
            <a:spLocks/>
          </p:cNvSpPr>
          <p:nvPr userDrawn="1"/>
        </p:nvSpPr>
        <p:spPr>
          <a:xfrm>
            <a:off x="11346180" y="6275288"/>
            <a:ext cx="437832" cy="216000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defPPr>
              <a:defRPr lang="de-DE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/>
            <a:fld id="{89D8FB60-BBE6-4CF5-8D9B-0925E907AC87}" type="slidenum">
              <a:rPr lang="en-US" smtClean="0">
                <a:solidFill>
                  <a:schemeClr val="tx1"/>
                </a:solidFill>
              </a:rPr>
              <a:pPr algn="r" rtl="0"/>
              <a:t>‹Nr.›</a:t>
            </a:fld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EC7B801D-994C-4F94-B034-533D267DFE5E}"/>
              </a:ext>
            </a:extLst>
          </p:cNvPr>
          <p:cNvGrpSpPr/>
          <p:nvPr userDrawn="1"/>
        </p:nvGrpSpPr>
        <p:grpSpPr>
          <a:xfrm>
            <a:off x="-387669" y="812800"/>
            <a:ext cx="180000" cy="5640388"/>
            <a:chOff x="-387669" y="812800"/>
            <a:chExt cx="180000" cy="5640388"/>
          </a:xfrm>
        </p:grpSpPr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8677A84A-3268-40F2-AFF0-4423209540D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87669" y="812800"/>
              <a:ext cx="18000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91214D73-3417-4631-ADDD-5EC5C207C48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87669" y="1089025"/>
              <a:ext cx="18000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A13B9171-F40E-4D25-B057-8E18A9E7AF2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87669" y="1949450"/>
              <a:ext cx="18000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E4DFD3DE-A1F7-49E7-B9A7-3D1AE2055B0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87669" y="6092825"/>
              <a:ext cx="18000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B75F8DD0-C193-495D-8A25-C17ECAB33D6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87669" y="6453188"/>
              <a:ext cx="18000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68574BBE-CDDB-446A-A080-A58674782838}"/>
              </a:ext>
            </a:extLst>
          </p:cNvPr>
          <p:cNvGrpSpPr/>
          <p:nvPr userDrawn="1"/>
        </p:nvGrpSpPr>
        <p:grpSpPr>
          <a:xfrm>
            <a:off x="12399669" y="812800"/>
            <a:ext cx="180000" cy="5640388"/>
            <a:chOff x="-387669" y="812800"/>
            <a:chExt cx="180000" cy="5640388"/>
          </a:xfrm>
        </p:grpSpPr>
        <p:cxnSp>
          <p:nvCxnSpPr>
            <p:cNvPr id="45" name="Gerader Verbinder 44">
              <a:extLst>
                <a:ext uri="{FF2B5EF4-FFF2-40B4-BE49-F238E27FC236}">
                  <a16:creationId xmlns:a16="http://schemas.microsoft.com/office/drawing/2014/main" id="{2F0A01AB-0264-4B31-853E-0675B035E4C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87669" y="812800"/>
              <a:ext cx="18000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75170B98-1E98-4EAE-BE56-18EB3B5BD40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87669" y="1089025"/>
              <a:ext cx="18000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FA0BFC41-2AC5-4D0E-8F00-BDA4345448F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87669" y="1949450"/>
              <a:ext cx="18000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84D76131-87C4-4651-AB9C-01A8CFF8E36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87669" y="6092825"/>
              <a:ext cx="18000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63E3DFE0-E03B-49B2-AA67-6047668191C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87669" y="6453188"/>
              <a:ext cx="18000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0247576-664D-4915-88D7-EF6D7AF694A8}"/>
              </a:ext>
            </a:extLst>
          </p:cNvPr>
          <p:cNvGrpSpPr/>
          <p:nvPr userDrawn="1"/>
        </p:nvGrpSpPr>
        <p:grpSpPr>
          <a:xfrm>
            <a:off x="407988" y="-399789"/>
            <a:ext cx="11376025" cy="180000"/>
            <a:chOff x="407988" y="-394800"/>
            <a:chExt cx="11376025" cy="180000"/>
          </a:xfrm>
        </p:grpSpPr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BCF25A8F-77BB-4B2F-9E35-1D4EB1AD8BAE}"/>
                </a:ext>
              </a:extLst>
            </p:cNvPr>
            <p:cNvCxnSpPr>
              <a:cxnSpLocks/>
            </p:cNvCxnSpPr>
            <p:nvPr userDrawn="1"/>
          </p:nvCxnSpPr>
          <p:spPr>
            <a:xfrm rot="5400000" flipH="1">
              <a:off x="317988" y="-304800"/>
              <a:ext cx="18000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EB9861E1-3CD0-4FD2-8930-FE013512060F}"/>
                </a:ext>
              </a:extLst>
            </p:cNvPr>
            <p:cNvCxnSpPr>
              <a:cxnSpLocks/>
            </p:cNvCxnSpPr>
            <p:nvPr userDrawn="1"/>
          </p:nvCxnSpPr>
          <p:spPr>
            <a:xfrm rot="5400000" flipH="1">
              <a:off x="11694013" y="-304800"/>
              <a:ext cx="18000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4245D264-3005-49F9-9D69-7B8CF80525D9}"/>
              </a:ext>
            </a:extLst>
          </p:cNvPr>
          <p:cNvGrpSpPr/>
          <p:nvPr userDrawn="1"/>
        </p:nvGrpSpPr>
        <p:grpSpPr>
          <a:xfrm>
            <a:off x="407988" y="7138114"/>
            <a:ext cx="11376025" cy="180000"/>
            <a:chOff x="407988" y="-394800"/>
            <a:chExt cx="11376025" cy="180000"/>
          </a:xfrm>
        </p:grpSpPr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03BA9192-A7B5-4351-B717-4E485A24F575}"/>
                </a:ext>
              </a:extLst>
            </p:cNvPr>
            <p:cNvCxnSpPr>
              <a:cxnSpLocks/>
            </p:cNvCxnSpPr>
            <p:nvPr userDrawn="1"/>
          </p:nvCxnSpPr>
          <p:spPr>
            <a:xfrm rot="5400000" flipH="1">
              <a:off x="317988" y="-304800"/>
              <a:ext cx="18000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r Verbinder 53">
              <a:extLst>
                <a:ext uri="{FF2B5EF4-FFF2-40B4-BE49-F238E27FC236}">
                  <a16:creationId xmlns:a16="http://schemas.microsoft.com/office/drawing/2014/main" id="{F6B2276B-8E2C-4B9D-B230-946155FDCBD5}"/>
                </a:ext>
              </a:extLst>
            </p:cNvPr>
            <p:cNvCxnSpPr>
              <a:cxnSpLocks/>
            </p:cNvCxnSpPr>
            <p:nvPr userDrawn="1"/>
          </p:nvCxnSpPr>
          <p:spPr>
            <a:xfrm rot="5400000" flipH="1">
              <a:off x="11694013" y="-304800"/>
              <a:ext cx="18000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18709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49" r:id="rId2"/>
    <p:sldLayoutId id="2147483796" r:id="rId3"/>
    <p:sldLayoutId id="2147483797" r:id="rId4"/>
    <p:sldLayoutId id="2147483798" r:id="rId5"/>
    <p:sldLayoutId id="2147483799" r:id="rId6"/>
    <p:sldLayoutId id="2147483811" r:id="rId7"/>
    <p:sldLayoutId id="2147483813" r:id="rId8"/>
    <p:sldLayoutId id="2147483812" r:id="rId9"/>
    <p:sldLayoutId id="2147483656" r:id="rId10"/>
    <p:sldLayoutId id="2147483654" r:id="rId11"/>
    <p:sldLayoutId id="2147483658" r:id="rId12"/>
    <p:sldLayoutId id="2147483655" r:id="rId13"/>
    <p:sldLayoutId id="2147483657" r:id="rId14"/>
    <p:sldLayoutId id="2147483800" r:id="rId15"/>
    <p:sldLayoutId id="2147483801" r:id="rId16"/>
    <p:sldLayoutId id="2147483808" r:id="rId17"/>
    <p:sldLayoutId id="2147483809" r:id="rId18"/>
    <p:sldLayoutId id="2147483806" r:id="rId19"/>
    <p:sldLayoutId id="2147483805" r:id="rId20"/>
    <p:sldLayoutId id="2147483804" r:id="rId21"/>
    <p:sldLayoutId id="2147483803" r:id="rId22"/>
    <p:sldLayoutId id="2147483802" r:id="rId23"/>
    <p:sldLayoutId id="2147483810" r:id="rId24"/>
    <p:sldLayoutId id="2147483807" r:id="rId25"/>
    <p:sldLayoutId id="2147483847" r:id="rId26"/>
    <p:sldLayoutId id="2147483852" r:id="rId2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2075" indent="-92075" algn="l" defTabSz="914400" rtl="0" eaLnBrk="1" latinLnBrk="0" hangingPunct="1">
        <a:lnSpc>
          <a:spcPct val="120000"/>
        </a:lnSpc>
        <a:spcBef>
          <a:spcPts val="0"/>
        </a:spcBef>
        <a:buFont typeface="H&amp;Z Campton TT Book" panose="020B0004020102020203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90488" algn="l" defTabSz="914400" rtl="0" eaLnBrk="1" latinLnBrk="0" hangingPunct="1">
        <a:lnSpc>
          <a:spcPct val="120000"/>
        </a:lnSpc>
        <a:spcBef>
          <a:spcPts val="0"/>
        </a:spcBef>
        <a:buFont typeface="H&amp;Z Campton TT Book" panose="020B0004020102020203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84138" algn="l" defTabSz="914400" rtl="0" eaLnBrk="1" latinLnBrk="0" hangingPunct="1">
        <a:lnSpc>
          <a:spcPct val="120000"/>
        </a:lnSpc>
        <a:spcBef>
          <a:spcPts val="0"/>
        </a:spcBef>
        <a:buFont typeface="H&amp;Z Campton TT Book" panose="020B0004020102020203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92075" algn="l" defTabSz="914400" rtl="0" eaLnBrk="1" latinLnBrk="0" hangingPunct="1">
        <a:lnSpc>
          <a:spcPct val="120000"/>
        </a:lnSpc>
        <a:spcBef>
          <a:spcPts val="0"/>
        </a:spcBef>
        <a:buFont typeface="H&amp;Z Campton TT Book" panose="020B0004020102020203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49263" indent="-90488" algn="l" defTabSz="914400" rtl="0" eaLnBrk="1" latinLnBrk="0" hangingPunct="1">
        <a:lnSpc>
          <a:spcPct val="120000"/>
        </a:lnSpc>
        <a:spcBef>
          <a:spcPts val="0"/>
        </a:spcBef>
        <a:buFont typeface="H&amp;Z Campton TT Book" panose="020B0004020102020203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2" userDrawn="1">
          <p15:clr>
            <a:srgbClr val="F26B43"/>
          </p15:clr>
        </p15:guide>
        <p15:guide id="24" pos="257" userDrawn="1">
          <p15:clr>
            <a:srgbClr val="F26B43"/>
          </p15:clr>
        </p15:guide>
        <p15:guide id="25" pos="7423" userDrawn="1">
          <p15:clr>
            <a:srgbClr val="F26B43"/>
          </p15:clr>
        </p15:guide>
        <p15:guide id="26" orient="horz" pos="3838" userDrawn="1">
          <p15:clr>
            <a:srgbClr val="F26B43"/>
          </p15:clr>
        </p15:guide>
        <p15:guide id="27" orient="horz" pos="1230" userDrawn="1">
          <p15:clr>
            <a:srgbClr val="F26B43"/>
          </p15:clr>
        </p15:guide>
        <p15:guide id="29" orient="horz" pos="686" userDrawn="1">
          <p15:clr>
            <a:srgbClr val="F26B43"/>
          </p15:clr>
        </p15:guide>
        <p15:guide id="30" orient="horz" pos="40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>
            <a:extLst>
              <a:ext uri="{FF2B5EF4-FFF2-40B4-BE49-F238E27FC236}">
                <a16:creationId xmlns:a16="http://schemas.microsoft.com/office/drawing/2014/main" id="{4FF58738-F9EA-44DD-80D3-8DFDA748AB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929717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498" imgH="499" progId="TCLayout.ActiveDocument.1">
                  <p:embed/>
                </p:oleObj>
              </mc:Choice>
              <mc:Fallback>
                <p:oleObj name="think-cell Folie" r:id="rId27" imgW="498" imgH="499" progId="TCLayout.ActiveDocument.1">
                  <p:embed/>
                  <p:pic>
                    <p:nvPicPr>
                      <p:cNvPr id="49" name="Objekt 48" hidden="1">
                        <a:extLst>
                          <a:ext uri="{FF2B5EF4-FFF2-40B4-BE49-F238E27FC236}">
                            <a16:creationId xmlns:a16="http://schemas.microsoft.com/office/drawing/2014/main" id="{4FF58738-F9EA-44DD-80D3-8DFDA748A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282107B-CDDF-451D-AE8B-94C4AB24006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4" y="368300"/>
            <a:ext cx="7345362" cy="30597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D2C6D40-B0B3-4D43-9465-CCA61D74F027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550863" y="1449392"/>
            <a:ext cx="11088663" cy="48958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  <a:p>
            <a:pPr lvl="5"/>
            <a:r>
              <a:rPr lang="en-US" err="1"/>
              <a:t>Sechste</a:t>
            </a:r>
            <a:r>
              <a:rPr lang="en-US"/>
              <a:t> Ebene</a:t>
            </a:r>
          </a:p>
          <a:p>
            <a:pPr lvl="6"/>
            <a:r>
              <a:rPr lang="en-US" err="1"/>
              <a:t>Siebte</a:t>
            </a:r>
            <a:r>
              <a:rPr lang="en-US"/>
              <a:t> Ebene </a:t>
            </a:r>
          </a:p>
          <a:p>
            <a:pPr lvl="7"/>
            <a:r>
              <a:rPr lang="en-US" err="1"/>
              <a:t>Achte</a:t>
            </a:r>
            <a:r>
              <a:rPr lang="en-US"/>
              <a:t> Ebene </a:t>
            </a:r>
          </a:p>
          <a:p>
            <a:pPr lvl="8"/>
            <a:r>
              <a:rPr lang="en-US" err="1"/>
              <a:t>Neunte</a:t>
            </a:r>
            <a:r>
              <a:rPr lang="en-US"/>
              <a:t> Ebene </a:t>
            </a:r>
          </a:p>
          <a:p>
            <a:pPr lvl="4"/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8391E6-0A40-4120-9E5D-7AA6EBB95CE2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456331" y="6520543"/>
            <a:ext cx="769781" cy="175612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pPr algn="r"/>
            <a:fld id="{311783FD-3DA9-4EEF-9C5B-5CBF7D3DCA3F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FF9115-E5FA-4021-A2C1-4F69CE880E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040170" y="6520543"/>
            <a:ext cx="2416161" cy="175612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 rtl="0">
              <a:defRPr sz="800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42C60E-4D82-4FB8-9979-E54DDB6D7C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226113" y="6520543"/>
            <a:ext cx="413414" cy="175612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 rtl="0">
              <a:defRPr sz="800" b="1" i="0">
                <a:solidFill>
                  <a:schemeClr val="accent1"/>
                </a:solidFill>
              </a:defRPr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005EC61-01BE-4A97-AF09-9C9F574A3657}"/>
              </a:ext>
            </a:extLst>
          </p:cNvPr>
          <p:cNvSpPr/>
          <p:nvPr userDrawn="1"/>
        </p:nvSpPr>
        <p:spPr bwMode="gray">
          <a:xfrm>
            <a:off x="-2" y="0"/>
            <a:ext cx="108000" cy="63452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0402B09C-C6E9-4E3C-9D69-E2BDFEC7134C}"/>
              </a:ext>
            </a:extLst>
          </p:cNvPr>
          <p:cNvGrpSpPr/>
          <p:nvPr userDrawn="1"/>
        </p:nvGrpSpPr>
        <p:grpSpPr bwMode="gray">
          <a:xfrm>
            <a:off x="-93663" y="-163318"/>
            <a:ext cx="12408868" cy="7126208"/>
            <a:chOff x="-93663" y="-163318"/>
            <a:chExt cx="12408868" cy="7126208"/>
          </a:xfrm>
        </p:grpSpPr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4CFA38B6-8B5A-451D-8E72-BAE73C33D276}"/>
                </a:ext>
              </a:extLst>
            </p:cNvPr>
            <p:cNvGrpSpPr/>
            <p:nvPr userDrawn="1"/>
          </p:nvGrpSpPr>
          <p:grpSpPr bwMode="gray">
            <a:xfrm>
              <a:off x="-93663" y="368300"/>
              <a:ext cx="68263" cy="5976938"/>
              <a:chOff x="-93663" y="368300"/>
              <a:chExt cx="68263" cy="5976938"/>
            </a:xfrm>
          </p:grpSpPr>
          <p:cxnSp>
            <p:nvCxnSpPr>
              <p:cNvPr id="9" name="Gerader Verbinder 8">
                <a:extLst>
                  <a:ext uri="{FF2B5EF4-FFF2-40B4-BE49-F238E27FC236}">
                    <a16:creationId xmlns:a16="http://schemas.microsoft.com/office/drawing/2014/main" id="{E934013A-7E26-4C59-A0C6-ED27EAB2E63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8300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Gerader Verbinder 9">
                <a:extLst>
                  <a:ext uri="{FF2B5EF4-FFF2-40B4-BE49-F238E27FC236}">
                    <a16:creationId xmlns:a16="http://schemas.microsoft.com/office/drawing/2014/main" id="{914ED4B5-368B-4A4E-818B-33EA27D30375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090083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Gerader Verbinder 10">
                <a:extLst>
                  <a:ext uri="{FF2B5EF4-FFF2-40B4-BE49-F238E27FC236}">
                    <a16:creationId xmlns:a16="http://schemas.microsoft.com/office/drawing/2014/main" id="{F7243CDD-B116-4ED3-B345-F24D05EA0C1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449917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r Verbinder 11">
                <a:extLst>
                  <a:ext uri="{FF2B5EF4-FFF2-40B4-BE49-F238E27FC236}">
                    <a16:creationId xmlns:a16="http://schemas.microsoft.com/office/drawing/2014/main" id="{DC3E8144-E778-42D5-9092-D17C21F86C1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82428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r Verbinder 12">
                <a:extLst>
                  <a:ext uri="{FF2B5EF4-FFF2-40B4-BE49-F238E27FC236}">
                    <a16:creationId xmlns:a16="http://schemas.microsoft.com/office/drawing/2014/main" id="{F02008EB-1582-437D-92C7-2F132BDB90F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96822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r Verbinder 13">
                <a:extLst>
                  <a:ext uri="{FF2B5EF4-FFF2-40B4-BE49-F238E27FC236}">
                    <a16:creationId xmlns:a16="http://schemas.microsoft.com/office/drawing/2014/main" id="{01E9E1AA-17E2-418C-A501-2853623CF40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48B23B2C-072B-4216-8858-880EFD5D2FA7}"/>
                </a:ext>
              </a:extLst>
            </p:cNvPr>
            <p:cNvGrpSpPr/>
            <p:nvPr userDrawn="1"/>
          </p:nvGrpSpPr>
          <p:grpSpPr bwMode="gray">
            <a:xfrm>
              <a:off x="12246942" y="368300"/>
              <a:ext cx="68263" cy="5976938"/>
              <a:chOff x="-93663" y="368300"/>
              <a:chExt cx="68263" cy="5976938"/>
            </a:xfrm>
          </p:grpSpPr>
          <p:cxnSp>
            <p:nvCxnSpPr>
              <p:cNvPr id="16" name="Gerader Verbinder 15">
                <a:extLst>
                  <a:ext uri="{FF2B5EF4-FFF2-40B4-BE49-F238E27FC236}">
                    <a16:creationId xmlns:a16="http://schemas.microsoft.com/office/drawing/2014/main" id="{C177299C-0521-4197-AFEF-8621353AC055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8300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16">
                <a:extLst>
                  <a:ext uri="{FF2B5EF4-FFF2-40B4-BE49-F238E27FC236}">
                    <a16:creationId xmlns:a16="http://schemas.microsoft.com/office/drawing/2014/main" id="{92451C98-BAFD-485F-BC03-5E12B1D1C30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090083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17">
                <a:extLst>
                  <a:ext uri="{FF2B5EF4-FFF2-40B4-BE49-F238E27FC236}">
                    <a16:creationId xmlns:a16="http://schemas.microsoft.com/office/drawing/2014/main" id="{AC7F9448-C1B9-4128-A33B-C0552A6B47E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449917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18">
                <a:extLst>
                  <a:ext uri="{FF2B5EF4-FFF2-40B4-BE49-F238E27FC236}">
                    <a16:creationId xmlns:a16="http://schemas.microsoft.com/office/drawing/2014/main" id="{9A9594E4-B992-4A50-8157-478144C81ABA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824923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r Verbinder 19">
                <a:extLst>
                  <a:ext uri="{FF2B5EF4-FFF2-40B4-BE49-F238E27FC236}">
                    <a16:creationId xmlns:a16="http://schemas.microsoft.com/office/drawing/2014/main" id="{A2FE5DAE-B3D9-48E4-B5A5-A81ADC23510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968857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r Verbinder 20">
                <a:extLst>
                  <a:ext uri="{FF2B5EF4-FFF2-40B4-BE49-F238E27FC236}">
                    <a16:creationId xmlns:a16="http://schemas.microsoft.com/office/drawing/2014/main" id="{78A9FE31-126C-4A45-B8F7-FAF15223CAB0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12FDB4C3-AD69-4C0A-BCFB-9F19ED82A518}"/>
                </a:ext>
              </a:extLst>
            </p:cNvPr>
            <p:cNvGrpSpPr/>
            <p:nvPr userDrawn="1"/>
          </p:nvGrpSpPr>
          <p:grpSpPr bwMode="gray">
            <a:xfrm rot="5400000">
              <a:off x="6061869" y="-5674316"/>
              <a:ext cx="68263" cy="11090260"/>
              <a:chOff x="-93663" y="-4745022"/>
              <a:chExt cx="68263" cy="11090260"/>
            </a:xfrm>
          </p:grpSpPr>
          <p:cxnSp>
            <p:nvCxnSpPr>
              <p:cNvPr id="23" name="Gerader Verbinder 22">
                <a:extLst>
                  <a:ext uri="{FF2B5EF4-FFF2-40B4-BE49-F238E27FC236}">
                    <a16:creationId xmlns:a16="http://schemas.microsoft.com/office/drawing/2014/main" id="{2B42DDFC-D51D-4DBB-85DD-4EA439D9B36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533774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r Verbinder 23">
                <a:extLst>
                  <a:ext uri="{FF2B5EF4-FFF2-40B4-BE49-F238E27FC236}">
                    <a16:creationId xmlns:a16="http://schemas.microsoft.com/office/drawing/2014/main" id="{496C7B68-9EB6-4618-9B2E-77E841B2BC6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7770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r Verbinder 24">
                <a:extLst>
                  <a:ext uri="{FF2B5EF4-FFF2-40B4-BE49-F238E27FC236}">
                    <a16:creationId xmlns:a16="http://schemas.microsoft.com/office/drawing/2014/main" id="{C9971A4A-B7E1-497C-9015-EFC182A1DD63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r Verbinder 25">
                <a:extLst>
                  <a:ext uri="{FF2B5EF4-FFF2-40B4-BE49-F238E27FC236}">
                    <a16:creationId xmlns:a16="http://schemas.microsoft.com/office/drawing/2014/main" id="{BE5C9D37-5B4E-4C1E-8CFF-6A7999564128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59714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r Verbinder 26">
                <a:extLst>
                  <a:ext uri="{FF2B5EF4-FFF2-40B4-BE49-F238E27FC236}">
                    <a16:creationId xmlns:a16="http://schemas.microsoft.com/office/drawing/2014/main" id="{8F966961-BD4A-4B29-8F2F-E711DA1761DA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74108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r Verbinder 27">
                <a:extLst>
                  <a:ext uri="{FF2B5EF4-FFF2-40B4-BE49-F238E27FC236}">
                    <a16:creationId xmlns:a16="http://schemas.microsoft.com/office/drawing/2014/main" id="{A3EAA666-DA90-43B2-B958-81EF5B6DC25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72707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r Verbinder 28">
                <a:extLst>
                  <a:ext uri="{FF2B5EF4-FFF2-40B4-BE49-F238E27FC236}">
                    <a16:creationId xmlns:a16="http://schemas.microsoft.com/office/drawing/2014/main" id="{E74DCE60-3D81-4837-9C87-CCFB1520BE5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871006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r Verbinder 29">
                <a:extLst>
                  <a:ext uri="{FF2B5EF4-FFF2-40B4-BE49-F238E27FC236}">
                    <a16:creationId xmlns:a16="http://schemas.microsoft.com/office/drawing/2014/main" id="{54413B22-3566-48E4-89C8-03C96A230AC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14406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r Verbinder 30">
                <a:extLst>
                  <a:ext uri="{FF2B5EF4-FFF2-40B4-BE49-F238E27FC236}">
                    <a16:creationId xmlns:a16="http://schemas.microsoft.com/office/drawing/2014/main" id="{4500781A-C37F-4DCE-A0C5-9D7DF3AB0DE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00011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1AAFDF78-CFB6-4B30-93BC-F5AD48AC6A58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2082275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C2F11B43-AEFC-463F-A344-E51FCD65B863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93833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9E6477AA-ABD4-4AC2-A157-E6C3D02602F8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474502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8084FDFB-637C-4153-A0AF-0CB3C16D3254}"/>
                </a:ext>
              </a:extLst>
            </p:cNvPr>
            <p:cNvGrpSpPr/>
            <p:nvPr userDrawn="1"/>
          </p:nvGrpSpPr>
          <p:grpSpPr bwMode="gray">
            <a:xfrm rot="5400000">
              <a:off x="6061870" y="1383629"/>
              <a:ext cx="68263" cy="11090260"/>
              <a:chOff x="-93663" y="-4745022"/>
              <a:chExt cx="68263" cy="11090260"/>
            </a:xfrm>
          </p:grpSpPr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ACFEA43A-0C7A-4AEE-AC90-AC859CAC7EB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533774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FA4DCDDC-DD00-4407-8F0E-2E1D3B0716F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7770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>
                <a:extLst>
                  <a:ext uri="{FF2B5EF4-FFF2-40B4-BE49-F238E27FC236}">
                    <a16:creationId xmlns:a16="http://schemas.microsoft.com/office/drawing/2014/main" id="{ED3DC6F3-74DE-4B1E-979B-EAE29DBF89DA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r Verbinder 38">
                <a:extLst>
                  <a:ext uri="{FF2B5EF4-FFF2-40B4-BE49-F238E27FC236}">
                    <a16:creationId xmlns:a16="http://schemas.microsoft.com/office/drawing/2014/main" id="{6C8BD650-DF87-4B14-BD0C-4241AA4029D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59714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r Verbinder 39">
                <a:extLst>
                  <a:ext uri="{FF2B5EF4-FFF2-40B4-BE49-F238E27FC236}">
                    <a16:creationId xmlns:a16="http://schemas.microsoft.com/office/drawing/2014/main" id="{DB42AFEC-F5F0-41C5-A0E4-EB7CCF18D68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74108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r Verbinder 40">
                <a:extLst>
                  <a:ext uri="{FF2B5EF4-FFF2-40B4-BE49-F238E27FC236}">
                    <a16:creationId xmlns:a16="http://schemas.microsoft.com/office/drawing/2014/main" id="{8DD0416B-EF82-4835-A580-24C14154126A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72707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r Verbinder 41">
                <a:extLst>
                  <a:ext uri="{FF2B5EF4-FFF2-40B4-BE49-F238E27FC236}">
                    <a16:creationId xmlns:a16="http://schemas.microsoft.com/office/drawing/2014/main" id="{1163EA27-2880-4BD8-82B4-22B7C9552B4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871006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r Verbinder 42">
                <a:extLst>
                  <a:ext uri="{FF2B5EF4-FFF2-40B4-BE49-F238E27FC236}">
                    <a16:creationId xmlns:a16="http://schemas.microsoft.com/office/drawing/2014/main" id="{66862D61-AE68-4355-A036-F2BC62E94DF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14406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r Verbinder 43">
                <a:extLst>
                  <a:ext uri="{FF2B5EF4-FFF2-40B4-BE49-F238E27FC236}">
                    <a16:creationId xmlns:a16="http://schemas.microsoft.com/office/drawing/2014/main" id="{F9AEB479-1808-4E94-B44E-E1781DF43A3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00011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r Verbinder 44">
                <a:extLst>
                  <a:ext uri="{FF2B5EF4-FFF2-40B4-BE49-F238E27FC236}">
                    <a16:creationId xmlns:a16="http://schemas.microsoft.com/office/drawing/2014/main" id="{A4C5287D-F34E-41C4-9647-0A1B49B3001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2082275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r Verbinder 45">
                <a:extLst>
                  <a:ext uri="{FF2B5EF4-FFF2-40B4-BE49-F238E27FC236}">
                    <a16:creationId xmlns:a16="http://schemas.microsoft.com/office/drawing/2014/main" id="{14DBBB59-8E4E-461D-9DF1-DF9A824F8EF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93833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r Verbinder 46">
                <a:extLst>
                  <a:ext uri="{FF2B5EF4-FFF2-40B4-BE49-F238E27FC236}">
                    <a16:creationId xmlns:a16="http://schemas.microsoft.com/office/drawing/2014/main" id="{DCDBD943-3293-4823-A17A-79C92A264110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474502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4DE74389-2B4E-441C-84F9-9F230E76992E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320413" y="346346"/>
            <a:ext cx="1258812" cy="378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552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  <p:sldLayoutId id="2147483760" r:id="rId20"/>
    <p:sldLayoutId id="2147483761" r:id="rId21"/>
    <p:sldLayoutId id="2147483762" r:id="rId22"/>
    <p:sldLayoutId id="2147483763" r:id="rId23"/>
    <p:sldLayoutId id="2147483764" r:id="rId24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Tx/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252000" algn="l" defTabSz="914400" rtl="0" eaLnBrk="1" latinLnBrk="0" hangingPunct="1">
        <a:lnSpc>
          <a:spcPct val="110000"/>
        </a:lnSpc>
        <a:spcBef>
          <a:spcPts val="200"/>
        </a:spcBef>
        <a:spcAft>
          <a:spcPts val="400"/>
        </a:spcAft>
        <a:buClrTx/>
        <a:buSzPct val="8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52000" indent="-252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Tx/>
        <a:buSzPct val="80000"/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04000" indent="-252000" algn="l" defTabSz="914400" rtl="0" eaLnBrk="1" latinLnBrk="0" hangingPunct="1">
        <a:lnSpc>
          <a:spcPct val="110000"/>
        </a:lnSpc>
        <a:spcBef>
          <a:spcPts val="200"/>
        </a:spcBef>
        <a:spcAft>
          <a:spcPts val="400"/>
        </a:spcAft>
        <a:buClrTx/>
        <a:buSzPct val="80000"/>
        <a:buFont typeface="+mj-lt"/>
        <a:buAutoNum type="alphaL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347">
          <p15:clr>
            <a:srgbClr val="F26B43"/>
          </p15:clr>
        </p15:guide>
        <p15:guide id="4" orient="horz" pos="913">
          <p15:clr>
            <a:srgbClr val="F26B43"/>
          </p15:clr>
        </p15:guide>
        <p15:guide id="7" orient="horz" pos="3997">
          <p15:clr>
            <a:srgbClr val="F26B43"/>
          </p15:clr>
        </p15:guide>
        <p15:guide id="18" pos="7333">
          <p15:clr>
            <a:srgbClr val="F26B43"/>
          </p15:clr>
        </p15:guide>
        <p15:guide id="19" orient="horz" pos="68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>
            <a:extLst>
              <a:ext uri="{FF2B5EF4-FFF2-40B4-BE49-F238E27FC236}">
                <a16:creationId xmlns:a16="http://schemas.microsoft.com/office/drawing/2014/main" id="{4FF58738-F9EA-44DD-80D3-8DFDA748AB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902083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498" imgH="499" progId="TCLayout.ActiveDocument.1">
                  <p:embed/>
                </p:oleObj>
              </mc:Choice>
              <mc:Fallback>
                <p:oleObj name="think-cell Folie" r:id="rId27" imgW="498" imgH="499" progId="TCLayout.ActiveDocument.1">
                  <p:embed/>
                  <p:pic>
                    <p:nvPicPr>
                      <p:cNvPr id="49" name="Objekt 48" hidden="1">
                        <a:extLst>
                          <a:ext uri="{FF2B5EF4-FFF2-40B4-BE49-F238E27FC236}">
                            <a16:creationId xmlns:a16="http://schemas.microsoft.com/office/drawing/2014/main" id="{4FF58738-F9EA-44DD-80D3-8DFDA748A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282107B-CDDF-451D-AE8B-94C4AB24006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4" y="368300"/>
            <a:ext cx="7345362" cy="30597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D2C6D40-B0B3-4D43-9465-CCA61D74F027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550863" y="1449392"/>
            <a:ext cx="11088663" cy="48958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  <a:p>
            <a:pPr lvl="5"/>
            <a:r>
              <a:rPr lang="en-US" err="1"/>
              <a:t>Sechste</a:t>
            </a:r>
            <a:r>
              <a:rPr lang="en-US"/>
              <a:t> Ebene</a:t>
            </a:r>
          </a:p>
          <a:p>
            <a:pPr lvl="6"/>
            <a:r>
              <a:rPr lang="en-US" err="1"/>
              <a:t>Siebte</a:t>
            </a:r>
            <a:r>
              <a:rPr lang="en-US"/>
              <a:t> Ebene </a:t>
            </a:r>
          </a:p>
          <a:p>
            <a:pPr lvl="7"/>
            <a:r>
              <a:rPr lang="en-US" err="1"/>
              <a:t>Achte</a:t>
            </a:r>
            <a:r>
              <a:rPr lang="en-US"/>
              <a:t> Ebene </a:t>
            </a:r>
          </a:p>
          <a:p>
            <a:pPr lvl="8"/>
            <a:r>
              <a:rPr lang="en-US" err="1"/>
              <a:t>Neunte</a:t>
            </a:r>
            <a:r>
              <a:rPr lang="en-US"/>
              <a:t> Ebene </a:t>
            </a:r>
          </a:p>
          <a:p>
            <a:pPr lvl="4"/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8391E6-0A40-4120-9E5D-7AA6EBB95CE2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456331" y="6520543"/>
            <a:ext cx="769781" cy="175612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pPr algn="r"/>
            <a:fld id="{311783FD-3DA9-4EEF-9C5B-5CBF7D3DCA3F}" type="datetime1">
              <a:rPr lang="en-US" smtClean="0"/>
              <a:pPr algn="r"/>
              <a:t>2/1/2023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FF9115-E5FA-4021-A2C1-4F69CE880E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040170" y="6520543"/>
            <a:ext cx="2416161" cy="175612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 rtl="0">
              <a:defRPr sz="800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42C60E-4D82-4FB8-9979-E54DDB6D7C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226113" y="6520543"/>
            <a:ext cx="413414" cy="175612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 rtl="0">
              <a:defRPr sz="800" b="1" i="0">
                <a:solidFill>
                  <a:schemeClr val="accent1"/>
                </a:solidFill>
              </a:defRPr>
            </a:lvl1pPr>
          </a:lstStyle>
          <a:p>
            <a:fld id="{AF39A3E4-2D24-44FC-AF34-FDC90E30FE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005EC61-01BE-4A97-AF09-9C9F574A3657}"/>
              </a:ext>
            </a:extLst>
          </p:cNvPr>
          <p:cNvSpPr/>
          <p:nvPr userDrawn="1"/>
        </p:nvSpPr>
        <p:spPr bwMode="gray">
          <a:xfrm>
            <a:off x="-2" y="0"/>
            <a:ext cx="108000" cy="63452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0402B09C-C6E9-4E3C-9D69-E2BDFEC7134C}"/>
              </a:ext>
            </a:extLst>
          </p:cNvPr>
          <p:cNvGrpSpPr/>
          <p:nvPr userDrawn="1"/>
        </p:nvGrpSpPr>
        <p:grpSpPr bwMode="gray">
          <a:xfrm>
            <a:off x="-93663" y="-163318"/>
            <a:ext cx="12408868" cy="7126208"/>
            <a:chOff x="-93663" y="-163318"/>
            <a:chExt cx="12408868" cy="7126208"/>
          </a:xfrm>
        </p:grpSpPr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4CFA38B6-8B5A-451D-8E72-BAE73C33D276}"/>
                </a:ext>
              </a:extLst>
            </p:cNvPr>
            <p:cNvGrpSpPr/>
            <p:nvPr userDrawn="1"/>
          </p:nvGrpSpPr>
          <p:grpSpPr bwMode="gray">
            <a:xfrm>
              <a:off x="-93663" y="368300"/>
              <a:ext cx="68263" cy="5976938"/>
              <a:chOff x="-93663" y="368300"/>
              <a:chExt cx="68263" cy="5976938"/>
            </a:xfrm>
          </p:grpSpPr>
          <p:cxnSp>
            <p:nvCxnSpPr>
              <p:cNvPr id="9" name="Gerader Verbinder 8">
                <a:extLst>
                  <a:ext uri="{FF2B5EF4-FFF2-40B4-BE49-F238E27FC236}">
                    <a16:creationId xmlns:a16="http://schemas.microsoft.com/office/drawing/2014/main" id="{E934013A-7E26-4C59-A0C6-ED27EAB2E63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8300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Gerader Verbinder 9">
                <a:extLst>
                  <a:ext uri="{FF2B5EF4-FFF2-40B4-BE49-F238E27FC236}">
                    <a16:creationId xmlns:a16="http://schemas.microsoft.com/office/drawing/2014/main" id="{914ED4B5-368B-4A4E-818B-33EA27D30375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090083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Gerader Verbinder 10">
                <a:extLst>
                  <a:ext uri="{FF2B5EF4-FFF2-40B4-BE49-F238E27FC236}">
                    <a16:creationId xmlns:a16="http://schemas.microsoft.com/office/drawing/2014/main" id="{F7243CDD-B116-4ED3-B345-F24D05EA0C1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449917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r Verbinder 11">
                <a:extLst>
                  <a:ext uri="{FF2B5EF4-FFF2-40B4-BE49-F238E27FC236}">
                    <a16:creationId xmlns:a16="http://schemas.microsoft.com/office/drawing/2014/main" id="{DC3E8144-E778-42D5-9092-D17C21F86C1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82428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r Verbinder 12">
                <a:extLst>
                  <a:ext uri="{FF2B5EF4-FFF2-40B4-BE49-F238E27FC236}">
                    <a16:creationId xmlns:a16="http://schemas.microsoft.com/office/drawing/2014/main" id="{F02008EB-1582-437D-92C7-2F132BDB90F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96822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r Verbinder 13">
                <a:extLst>
                  <a:ext uri="{FF2B5EF4-FFF2-40B4-BE49-F238E27FC236}">
                    <a16:creationId xmlns:a16="http://schemas.microsoft.com/office/drawing/2014/main" id="{01E9E1AA-17E2-418C-A501-2853623CF40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48B23B2C-072B-4216-8858-880EFD5D2FA7}"/>
                </a:ext>
              </a:extLst>
            </p:cNvPr>
            <p:cNvGrpSpPr/>
            <p:nvPr userDrawn="1"/>
          </p:nvGrpSpPr>
          <p:grpSpPr bwMode="gray">
            <a:xfrm>
              <a:off x="12246942" y="368300"/>
              <a:ext cx="68263" cy="5976938"/>
              <a:chOff x="-93663" y="368300"/>
              <a:chExt cx="68263" cy="5976938"/>
            </a:xfrm>
          </p:grpSpPr>
          <p:cxnSp>
            <p:nvCxnSpPr>
              <p:cNvPr id="16" name="Gerader Verbinder 15">
                <a:extLst>
                  <a:ext uri="{FF2B5EF4-FFF2-40B4-BE49-F238E27FC236}">
                    <a16:creationId xmlns:a16="http://schemas.microsoft.com/office/drawing/2014/main" id="{C177299C-0521-4197-AFEF-8621353AC055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8300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16">
                <a:extLst>
                  <a:ext uri="{FF2B5EF4-FFF2-40B4-BE49-F238E27FC236}">
                    <a16:creationId xmlns:a16="http://schemas.microsoft.com/office/drawing/2014/main" id="{92451C98-BAFD-485F-BC03-5E12B1D1C30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090083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17">
                <a:extLst>
                  <a:ext uri="{FF2B5EF4-FFF2-40B4-BE49-F238E27FC236}">
                    <a16:creationId xmlns:a16="http://schemas.microsoft.com/office/drawing/2014/main" id="{AC7F9448-C1B9-4128-A33B-C0552A6B47E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1449917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18">
                <a:extLst>
                  <a:ext uri="{FF2B5EF4-FFF2-40B4-BE49-F238E27FC236}">
                    <a16:creationId xmlns:a16="http://schemas.microsoft.com/office/drawing/2014/main" id="{9A9594E4-B992-4A50-8157-478144C81ABA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824923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r Verbinder 19">
                <a:extLst>
                  <a:ext uri="{FF2B5EF4-FFF2-40B4-BE49-F238E27FC236}">
                    <a16:creationId xmlns:a16="http://schemas.microsoft.com/office/drawing/2014/main" id="{A2FE5DAE-B3D9-48E4-B5A5-A81ADC23510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968857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r Verbinder 20">
                <a:extLst>
                  <a:ext uri="{FF2B5EF4-FFF2-40B4-BE49-F238E27FC236}">
                    <a16:creationId xmlns:a16="http://schemas.microsoft.com/office/drawing/2014/main" id="{78A9FE31-126C-4A45-B8F7-FAF15223CAB0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12FDB4C3-AD69-4C0A-BCFB-9F19ED82A518}"/>
                </a:ext>
              </a:extLst>
            </p:cNvPr>
            <p:cNvGrpSpPr/>
            <p:nvPr userDrawn="1"/>
          </p:nvGrpSpPr>
          <p:grpSpPr bwMode="gray">
            <a:xfrm rot="5400000">
              <a:off x="6061869" y="-5674316"/>
              <a:ext cx="68263" cy="11090260"/>
              <a:chOff x="-93663" y="-4745022"/>
              <a:chExt cx="68263" cy="11090260"/>
            </a:xfrm>
          </p:grpSpPr>
          <p:cxnSp>
            <p:nvCxnSpPr>
              <p:cNvPr id="23" name="Gerader Verbinder 22">
                <a:extLst>
                  <a:ext uri="{FF2B5EF4-FFF2-40B4-BE49-F238E27FC236}">
                    <a16:creationId xmlns:a16="http://schemas.microsoft.com/office/drawing/2014/main" id="{2B42DDFC-D51D-4DBB-85DD-4EA439D9B36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533774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r Verbinder 23">
                <a:extLst>
                  <a:ext uri="{FF2B5EF4-FFF2-40B4-BE49-F238E27FC236}">
                    <a16:creationId xmlns:a16="http://schemas.microsoft.com/office/drawing/2014/main" id="{496C7B68-9EB6-4618-9B2E-77E841B2BC6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7770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r Verbinder 24">
                <a:extLst>
                  <a:ext uri="{FF2B5EF4-FFF2-40B4-BE49-F238E27FC236}">
                    <a16:creationId xmlns:a16="http://schemas.microsoft.com/office/drawing/2014/main" id="{C9971A4A-B7E1-497C-9015-EFC182A1DD63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r Verbinder 25">
                <a:extLst>
                  <a:ext uri="{FF2B5EF4-FFF2-40B4-BE49-F238E27FC236}">
                    <a16:creationId xmlns:a16="http://schemas.microsoft.com/office/drawing/2014/main" id="{BE5C9D37-5B4E-4C1E-8CFF-6A7999564128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59714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r Verbinder 26">
                <a:extLst>
                  <a:ext uri="{FF2B5EF4-FFF2-40B4-BE49-F238E27FC236}">
                    <a16:creationId xmlns:a16="http://schemas.microsoft.com/office/drawing/2014/main" id="{8F966961-BD4A-4B29-8F2F-E711DA1761DA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74108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r Verbinder 27">
                <a:extLst>
                  <a:ext uri="{FF2B5EF4-FFF2-40B4-BE49-F238E27FC236}">
                    <a16:creationId xmlns:a16="http://schemas.microsoft.com/office/drawing/2014/main" id="{A3EAA666-DA90-43B2-B958-81EF5B6DC25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72707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r Verbinder 28">
                <a:extLst>
                  <a:ext uri="{FF2B5EF4-FFF2-40B4-BE49-F238E27FC236}">
                    <a16:creationId xmlns:a16="http://schemas.microsoft.com/office/drawing/2014/main" id="{E74DCE60-3D81-4837-9C87-CCFB1520BE5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871006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r Verbinder 29">
                <a:extLst>
                  <a:ext uri="{FF2B5EF4-FFF2-40B4-BE49-F238E27FC236}">
                    <a16:creationId xmlns:a16="http://schemas.microsoft.com/office/drawing/2014/main" id="{54413B22-3566-48E4-89C8-03C96A230AC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14406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r Verbinder 30">
                <a:extLst>
                  <a:ext uri="{FF2B5EF4-FFF2-40B4-BE49-F238E27FC236}">
                    <a16:creationId xmlns:a16="http://schemas.microsoft.com/office/drawing/2014/main" id="{4500781A-C37F-4DCE-A0C5-9D7DF3AB0DE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00011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1AAFDF78-CFB6-4B30-93BC-F5AD48AC6A58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2082275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C2F11B43-AEFC-463F-A344-E51FCD65B863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93833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9E6477AA-ABD4-4AC2-A157-E6C3D02602F8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474502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8084FDFB-637C-4153-A0AF-0CB3C16D3254}"/>
                </a:ext>
              </a:extLst>
            </p:cNvPr>
            <p:cNvGrpSpPr/>
            <p:nvPr userDrawn="1"/>
          </p:nvGrpSpPr>
          <p:grpSpPr bwMode="gray">
            <a:xfrm rot="5400000">
              <a:off x="6061870" y="1383629"/>
              <a:ext cx="68263" cy="11090260"/>
              <a:chOff x="-93663" y="-4745022"/>
              <a:chExt cx="68263" cy="11090260"/>
            </a:xfrm>
          </p:grpSpPr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ACFEA43A-0C7A-4AEE-AC90-AC859CAC7EB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533774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FA4DCDDC-DD00-4407-8F0E-2E1D3B0716F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367770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>
                <a:extLst>
                  <a:ext uri="{FF2B5EF4-FFF2-40B4-BE49-F238E27FC236}">
                    <a16:creationId xmlns:a16="http://schemas.microsoft.com/office/drawing/2014/main" id="{ED3DC6F3-74DE-4B1E-979B-EAE29DBF89DA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634523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r Verbinder 38">
                <a:extLst>
                  <a:ext uri="{FF2B5EF4-FFF2-40B4-BE49-F238E27FC236}">
                    <a16:creationId xmlns:a16="http://schemas.microsoft.com/office/drawing/2014/main" id="{6C8BD650-DF87-4B14-BD0C-4241AA4029D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59714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r Verbinder 39">
                <a:extLst>
                  <a:ext uri="{FF2B5EF4-FFF2-40B4-BE49-F238E27FC236}">
                    <a16:creationId xmlns:a16="http://schemas.microsoft.com/office/drawing/2014/main" id="{DB42AFEC-F5F0-41C5-A0E4-EB7CCF18D68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274108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r Verbinder 40">
                <a:extLst>
                  <a:ext uri="{FF2B5EF4-FFF2-40B4-BE49-F238E27FC236}">
                    <a16:creationId xmlns:a16="http://schemas.microsoft.com/office/drawing/2014/main" id="{8DD0416B-EF82-4835-A580-24C14154126A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72707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r Verbinder 41">
                <a:extLst>
                  <a:ext uri="{FF2B5EF4-FFF2-40B4-BE49-F238E27FC236}">
                    <a16:creationId xmlns:a16="http://schemas.microsoft.com/office/drawing/2014/main" id="{1163EA27-2880-4BD8-82B4-22B7C9552B4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871006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r Verbinder 42">
                <a:extLst>
                  <a:ext uri="{FF2B5EF4-FFF2-40B4-BE49-F238E27FC236}">
                    <a16:creationId xmlns:a16="http://schemas.microsoft.com/office/drawing/2014/main" id="{66862D61-AE68-4355-A036-F2BC62E94DF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14406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r Verbinder 43">
                <a:extLst>
                  <a:ext uri="{FF2B5EF4-FFF2-40B4-BE49-F238E27FC236}">
                    <a16:creationId xmlns:a16="http://schemas.microsoft.com/office/drawing/2014/main" id="{F9AEB479-1808-4E94-B44E-E1781DF43A3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000118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r Verbinder 44">
                <a:extLst>
                  <a:ext uri="{FF2B5EF4-FFF2-40B4-BE49-F238E27FC236}">
                    <a16:creationId xmlns:a16="http://schemas.microsoft.com/office/drawing/2014/main" id="{A4C5287D-F34E-41C4-9647-0A1B49B3001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2082275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r Verbinder 45">
                <a:extLst>
                  <a:ext uri="{FF2B5EF4-FFF2-40B4-BE49-F238E27FC236}">
                    <a16:creationId xmlns:a16="http://schemas.microsoft.com/office/drawing/2014/main" id="{14DBBB59-8E4E-461D-9DF1-DF9A824F8EF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193833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r Verbinder 46">
                <a:extLst>
                  <a:ext uri="{FF2B5EF4-FFF2-40B4-BE49-F238E27FC236}">
                    <a16:creationId xmlns:a16="http://schemas.microsoft.com/office/drawing/2014/main" id="{DCDBD943-3293-4823-A17A-79C92A264110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-93663" y="-4745022"/>
                <a:ext cx="68263" cy="0"/>
              </a:xfrm>
              <a:prstGeom prst="line">
                <a:avLst/>
              </a:prstGeom>
              <a:ln>
                <a:solidFill>
                  <a:srgbClr val="D1001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4DE74389-2B4E-441C-84F9-9F230E76992E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320413" y="346346"/>
            <a:ext cx="1258812" cy="378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549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  <p:sldLayoutId id="2147483777" r:id="rId12"/>
    <p:sldLayoutId id="2147483778" r:id="rId13"/>
    <p:sldLayoutId id="2147483779" r:id="rId14"/>
    <p:sldLayoutId id="2147483780" r:id="rId15"/>
    <p:sldLayoutId id="2147483781" r:id="rId16"/>
    <p:sldLayoutId id="2147483782" r:id="rId17"/>
    <p:sldLayoutId id="2147483783" r:id="rId18"/>
    <p:sldLayoutId id="2147483784" r:id="rId19"/>
    <p:sldLayoutId id="2147483785" r:id="rId20"/>
    <p:sldLayoutId id="2147483786" r:id="rId21"/>
    <p:sldLayoutId id="2147483787" r:id="rId22"/>
    <p:sldLayoutId id="2147483788" r:id="rId23"/>
    <p:sldLayoutId id="2147483789" r:id="rId24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Tx/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252000" algn="l" defTabSz="914400" rtl="0" eaLnBrk="1" latinLnBrk="0" hangingPunct="1">
        <a:lnSpc>
          <a:spcPct val="110000"/>
        </a:lnSpc>
        <a:spcBef>
          <a:spcPts val="200"/>
        </a:spcBef>
        <a:spcAft>
          <a:spcPts val="400"/>
        </a:spcAft>
        <a:buClrTx/>
        <a:buSzPct val="8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52000" indent="-252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Tx/>
        <a:buSzPct val="80000"/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04000" indent="-252000" algn="l" defTabSz="914400" rtl="0" eaLnBrk="1" latinLnBrk="0" hangingPunct="1">
        <a:lnSpc>
          <a:spcPct val="110000"/>
        </a:lnSpc>
        <a:spcBef>
          <a:spcPts val="200"/>
        </a:spcBef>
        <a:spcAft>
          <a:spcPts val="400"/>
        </a:spcAft>
        <a:buClrTx/>
        <a:buSzPct val="80000"/>
        <a:buFont typeface="+mj-lt"/>
        <a:buAutoNum type="alphaL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347">
          <p15:clr>
            <a:srgbClr val="F26B43"/>
          </p15:clr>
        </p15:guide>
        <p15:guide id="4" orient="horz" pos="913">
          <p15:clr>
            <a:srgbClr val="F26B43"/>
          </p15:clr>
        </p15:guide>
        <p15:guide id="7" orient="horz" pos="3997">
          <p15:clr>
            <a:srgbClr val="F26B43"/>
          </p15:clr>
        </p15:guide>
        <p15:guide id="18" pos="7333">
          <p15:clr>
            <a:srgbClr val="F26B43"/>
          </p15:clr>
        </p15:guide>
        <p15:guide id="19" orient="horz" pos="68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tags" Target="../tags/tag102.xml"/><Relationship Id="rId7" Type="http://schemas.openxmlformats.org/officeDocument/2006/relationships/image" Target="../media/image21.emf"/><Relationship Id="rId12" Type="http://schemas.openxmlformats.org/officeDocument/2006/relationships/image" Target="../media/image26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oleObject" Target="../embeddings/oleObject79.bin"/><Relationship Id="rId11" Type="http://schemas.openxmlformats.org/officeDocument/2006/relationships/image" Target="../media/image25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emf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28.emf"/><Relationship Id="rId11" Type="http://schemas.openxmlformats.org/officeDocument/2006/relationships/image" Target="../media/image33.png"/><Relationship Id="rId5" Type="http://schemas.openxmlformats.org/officeDocument/2006/relationships/oleObject" Target="../embeddings/oleObject80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31.png"/><Relationship Id="rId14" Type="http://schemas.openxmlformats.org/officeDocument/2006/relationships/image" Target="../media/image3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gif"/><Relationship Id="rId13" Type="http://schemas.openxmlformats.org/officeDocument/2006/relationships/image" Target="../media/image42.png"/><Relationship Id="rId3" Type="http://schemas.openxmlformats.org/officeDocument/2006/relationships/tags" Target="../tags/tag107.xml"/><Relationship Id="rId7" Type="http://schemas.openxmlformats.org/officeDocument/2006/relationships/image" Target="../media/image28.emf"/><Relationship Id="rId12" Type="http://schemas.openxmlformats.org/officeDocument/2006/relationships/image" Target="../media/image41.gif"/><Relationship Id="rId17" Type="http://schemas.openxmlformats.org/officeDocument/2006/relationships/image" Target="../media/image46.png"/><Relationship Id="rId2" Type="http://schemas.openxmlformats.org/officeDocument/2006/relationships/tags" Target="../tags/tag106.xml"/><Relationship Id="rId16" Type="http://schemas.openxmlformats.org/officeDocument/2006/relationships/image" Target="../media/image45.png"/><Relationship Id="rId1" Type="http://schemas.openxmlformats.org/officeDocument/2006/relationships/tags" Target="../tags/tag105.xml"/><Relationship Id="rId6" Type="http://schemas.openxmlformats.org/officeDocument/2006/relationships/oleObject" Target="../embeddings/oleObject81.bin"/><Relationship Id="rId11" Type="http://schemas.openxmlformats.org/officeDocument/2006/relationships/image" Target="../media/image40.pn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44.png"/><Relationship Id="rId10" Type="http://schemas.openxmlformats.org/officeDocument/2006/relationships/image" Target="../media/image39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38.png"/><Relationship Id="rId14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7169" y="337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216" imgH="216" progId="TCLayout.ActiveDocument.1">
                  <p:embed/>
                </p:oleObj>
              </mc:Choice>
              <mc:Fallback>
                <p:oleObj name="think-cell Folie" r:id="rId6" imgW="216" imgH="2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7169" y="337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 bwMode="auto">
          <a:xfrm>
            <a:off x="1145580" y="1787"/>
            <a:ext cx="158668" cy="15866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Tx/>
            </a:pPr>
            <a:endParaRPr lang="en-US" sz="1998">
              <a:latin typeface="H&amp;Z Campton TT Book" panose="020B0004020102020203" pitchFamily="34" charset="0"/>
              <a:ea typeface="+mj-ea"/>
              <a:cs typeface="+mj-cs"/>
              <a:sym typeface="Arial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We conducted numerous value creation projects in electronics providing benchmarks, should costings and quick-wins realizatio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Selected references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22D8CC8-9293-4073-B869-F3A96EB5182B}"/>
              </a:ext>
            </a:extLst>
          </p:cNvPr>
          <p:cNvSpPr txBox="1"/>
          <p:nvPr/>
        </p:nvSpPr>
        <p:spPr>
          <a:xfrm>
            <a:off x="7097241" y="3432517"/>
            <a:ext cx="4663847" cy="1331008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>
                <a:solidFill>
                  <a:schemeClr val="tx1"/>
                </a:solidFill>
              </a:rPr>
              <a:t>Conducting value engineering activities for Philips main product categories within global Design-for-Excellence initiative</a:t>
            </a:r>
          </a:p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/>
              <a:t>Leading value and cost engineering activities globally</a:t>
            </a:r>
          </a:p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>
                <a:solidFill>
                  <a:schemeClr val="tx1"/>
                </a:solidFill>
              </a:rPr>
              <a:t>Contributing to Philips overall goal of 1bn$ savings target</a:t>
            </a:r>
          </a:p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/>
              <a:t>Setting up global training concept in Cost-Value-Engineering</a:t>
            </a:r>
            <a:endParaRPr lang="en-US" sz="1200" spc="-20">
              <a:solidFill>
                <a:schemeClr val="tx1"/>
              </a:solidFill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EB5294E-0916-4DAE-83D9-A7E2549D5668}"/>
              </a:ext>
            </a:extLst>
          </p:cNvPr>
          <p:cNvSpPr txBox="1"/>
          <p:nvPr/>
        </p:nvSpPr>
        <p:spPr>
          <a:xfrm>
            <a:off x="1432153" y="3432517"/>
            <a:ext cx="4663847" cy="1331008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>
                <a:solidFill>
                  <a:schemeClr val="tx1"/>
                </a:solidFill>
              </a:rPr>
              <a:t>Elaboration of “Full Potential Savings Plan” for Electronics &amp; Drivers (Sensors &amp; Controls, PCBAs, components, LED Drivers)</a:t>
            </a:r>
          </a:p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>
                <a:solidFill>
                  <a:schemeClr val="tx1"/>
                </a:solidFill>
              </a:rPr>
              <a:t>Conduction of Should Cost Analyses and Multilinear Pricing Performance Analyses</a:t>
            </a:r>
          </a:p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>
                <a:solidFill>
                  <a:schemeClr val="tx1"/>
                </a:solidFill>
              </a:rPr>
              <a:t>Preparation and conduction of global </a:t>
            </a:r>
            <a:r>
              <a:rPr lang="en-US" sz="1200" spc="-20" err="1">
                <a:solidFill>
                  <a:schemeClr val="tx1"/>
                </a:solidFill>
              </a:rPr>
              <a:t>RfQs</a:t>
            </a:r>
            <a:endParaRPr lang="en-US" sz="1200" spc="-20">
              <a:solidFill>
                <a:schemeClr val="tx1"/>
              </a:solidFill>
            </a:endParaRPr>
          </a:p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/>
              <a:t>15% savings identified and in implementation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93372A1-0AC5-4545-A4C8-129C7A936F56}"/>
              </a:ext>
            </a:extLst>
          </p:cNvPr>
          <p:cNvSpPr txBox="1"/>
          <p:nvPr/>
        </p:nvSpPr>
        <p:spPr>
          <a:xfrm>
            <a:off x="1432153" y="4854417"/>
            <a:ext cx="4663847" cy="1331008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 dirty="0">
                <a:solidFill>
                  <a:schemeClr val="tx1"/>
                </a:solidFill>
              </a:rPr>
              <a:t>VA/VE for automotive lighting systems</a:t>
            </a:r>
          </a:p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 dirty="0">
                <a:solidFill>
                  <a:schemeClr val="tx1"/>
                </a:solidFill>
              </a:rPr>
              <a:t>Product in mature design status within European automotive OEM development project</a:t>
            </a:r>
          </a:p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 dirty="0">
                <a:solidFill>
                  <a:schemeClr val="tx1"/>
                </a:solidFill>
              </a:rPr>
              <a:t>Focus on hardware, wire harness, PCBA and LED modules</a:t>
            </a:r>
          </a:p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 dirty="0">
                <a:solidFill>
                  <a:schemeClr val="tx1"/>
                </a:solidFill>
              </a:rPr>
              <a:t>Included supplier re-negotiations and re-sourcing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7B4DF17-E4F8-46C8-BD39-D14770D92E68}"/>
              </a:ext>
            </a:extLst>
          </p:cNvPr>
          <p:cNvSpPr txBox="1"/>
          <p:nvPr/>
        </p:nvSpPr>
        <p:spPr>
          <a:xfrm>
            <a:off x="7097241" y="2040907"/>
            <a:ext cx="4663847" cy="1331008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>
                <a:solidFill>
                  <a:schemeClr val="tx1"/>
                </a:solidFill>
              </a:rPr>
              <a:t>Conduction of should cost analyses in E&amp;E</a:t>
            </a:r>
          </a:p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>
                <a:solidFill>
                  <a:schemeClr val="tx1"/>
                </a:solidFill>
              </a:rPr>
              <a:t>Execution of four international lever workshops representing €150m PVO</a:t>
            </a:r>
          </a:p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>
                <a:solidFill>
                  <a:schemeClr val="tx1"/>
                </a:solidFill>
              </a:rPr>
              <a:t>Identification of 6-10% savings potential in ICs, PCBAs, Wires, Solenoids, Motors</a:t>
            </a:r>
          </a:p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>
                <a:solidFill>
                  <a:schemeClr val="tx1"/>
                </a:solidFill>
              </a:rPr>
              <a:t>Achieving €14m savings out of two supplier day events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F34E63C-00F1-410C-8251-EC88665F51D5}"/>
              </a:ext>
            </a:extLst>
          </p:cNvPr>
          <p:cNvSpPr txBox="1"/>
          <p:nvPr/>
        </p:nvSpPr>
        <p:spPr>
          <a:xfrm>
            <a:off x="1432153" y="2040907"/>
            <a:ext cx="4663847" cy="1331008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>
                <a:solidFill>
                  <a:schemeClr val="tx1"/>
                </a:solidFill>
              </a:rPr>
              <a:t>Lever workshops in E&amp;E (e.g. ICs, PCBs, circuits digital/ analog, flat modules, electronic parts, sensors…)</a:t>
            </a:r>
          </a:p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>
                <a:solidFill>
                  <a:schemeClr val="tx1"/>
                </a:solidFill>
              </a:rPr>
              <a:t>Elaboration of “Electronics Full Potential Savings Plan”</a:t>
            </a:r>
          </a:p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>
                <a:solidFill>
                  <a:schemeClr val="tx1"/>
                </a:solidFill>
              </a:rPr>
              <a:t>Support in the savings implementation (RFX, re-negotiation of existing suppliers, etc.)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CF52480C-085C-4B1F-9071-78CF276EDA3F}"/>
              </a:ext>
            </a:extLst>
          </p:cNvPr>
          <p:cNvSpPr txBox="1"/>
          <p:nvPr/>
        </p:nvSpPr>
        <p:spPr>
          <a:xfrm>
            <a:off x="7097241" y="4854417"/>
            <a:ext cx="4663847" cy="1331008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/>
              <a:t>Product benchmarking with 10 competitor products </a:t>
            </a:r>
          </a:p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/>
              <a:t>Product disassembly/comparison and reverse engineering workshops for mechanics, electrical and electronic parts</a:t>
            </a:r>
          </a:p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>
                <a:solidFill>
                  <a:schemeClr val="tx1"/>
                </a:solidFill>
              </a:rPr>
              <a:t>Conduction of various Should Cost Analyses for PCBAs</a:t>
            </a:r>
          </a:p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>
                <a:solidFill>
                  <a:schemeClr val="tx1"/>
                </a:solidFill>
              </a:rPr>
              <a:t>Integration of supplier know-how into optimization</a:t>
            </a:r>
          </a:p>
          <a:p>
            <a:pPr marL="173736" indent="-173736">
              <a:buFont typeface="H&amp;Z Campton TT Book" panose="020B0004020102020203" pitchFamily="34" charset="0"/>
              <a:buChar char="•"/>
            </a:pPr>
            <a:r>
              <a:rPr lang="en-US" sz="1200" spc="-20">
                <a:solidFill>
                  <a:schemeClr val="tx1"/>
                </a:solidFill>
              </a:rPr>
              <a:t>Identification of optimization potential of 13%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9DA67981-BD83-4083-890A-88CF0A2DF717}"/>
              </a:ext>
            </a:extLst>
          </p:cNvPr>
          <p:cNvCxnSpPr/>
          <p:nvPr/>
        </p:nvCxnSpPr>
        <p:spPr>
          <a:xfrm>
            <a:off x="404812" y="3415409"/>
            <a:ext cx="55800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45B513BD-768E-4856-917B-423377DE28FC}"/>
              </a:ext>
            </a:extLst>
          </p:cNvPr>
          <p:cNvCxnSpPr/>
          <p:nvPr/>
        </p:nvCxnSpPr>
        <p:spPr>
          <a:xfrm>
            <a:off x="404812" y="4818418"/>
            <a:ext cx="55800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E3E9F8CB-DAF4-433E-A662-FE29EE91B580}"/>
              </a:ext>
            </a:extLst>
          </p:cNvPr>
          <p:cNvCxnSpPr/>
          <p:nvPr/>
        </p:nvCxnSpPr>
        <p:spPr>
          <a:xfrm>
            <a:off x="6200836" y="3415409"/>
            <a:ext cx="55800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39B0817C-65BE-42F2-8580-18295D447978}"/>
              </a:ext>
            </a:extLst>
          </p:cNvPr>
          <p:cNvCxnSpPr/>
          <p:nvPr/>
        </p:nvCxnSpPr>
        <p:spPr>
          <a:xfrm>
            <a:off x="6200836" y="4818418"/>
            <a:ext cx="55800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8">
            <a:extLst>
              <a:ext uri="{FF2B5EF4-FFF2-40B4-BE49-F238E27FC236}">
                <a16:creationId xmlns:a16="http://schemas.microsoft.com/office/drawing/2014/main" id="{AD1DB7F6-F083-4CB9-A5C2-38FBF72D81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5076" y="5242903"/>
            <a:ext cx="854075" cy="554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" name="Picture 12">
            <a:extLst>
              <a:ext uri="{FF2B5EF4-FFF2-40B4-BE49-F238E27FC236}">
                <a16:creationId xmlns:a16="http://schemas.microsoft.com/office/drawing/2014/main" id="{CC62344E-0287-422D-8B90-16424F63E4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5709" y="3875090"/>
            <a:ext cx="1011237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15">
            <a:extLst>
              <a:ext uri="{FF2B5EF4-FFF2-40B4-BE49-F238E27FC236}">
                <a16:creationId xmlns:a16="http://schemas.microsoft.com/office/drawing/2014/main" id="{8A0F31CB-D573-40F5-A84C-4B09A351EE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8137" y="5294496"/>
            <a:ext cx="957263" cy="450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213722F3-59EE-423D-A849-3A23E4FFA51F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096000" y="3594286"/>
            <a:ext cx="841421" cy="971334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9C4F2F7B-570C-4F25-B228-BC0D2D4FC23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4889" y="2364197"/>
            <a:ext cx="684429" cy="684429"/>
          </a:xfrm>
          <a:prstGeom prst="rect">
            <a:avLst/>
          </a:prstGeom>
        </p:spPr>
      </p:pic>
      <p:pic>
        <p:nvPicPr>
          <p:cNvPr id="8194" name="Picture 2">
            <a:extLst>
              <a:ext uri="{FF2B5EF4-FFF2-40B4-BE49-F238E27FC236}">
                <a16:creationId xmlns:a16="http://schemas.microsoft.com/office/drawing/2014/main" id="{AF4A6842-9EA0-432B-BBCE-193395B1AC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472" y="2592965"/>
            <a:ext cx="957525" cy="226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628696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>
            <p:custDataLst>
              <p:tags r:id="rId2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en-GB" sz="200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We are experts in Target Operating Model design and </a:t>
            </a:r>
            <a:br>
              <a:rPr lang="en-GB"/>
            </a:br>
            <a:r>
              <a:rPr lang="en-GB"/>
              <a:t>implementation for global indirect Procurement organization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/>
              <a:t>References: Global Procurement Organizations for </a:t>
            </a:r>
            <a:r>
              <a:rPr lang="en-GB" err="1"/>
              <a:t>Indirects</a:t>
            </a:r>
            <a:r>
              <a:rPr lang="en-GB"/>
              <a:t> (excerpt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6260380-A29B-44D0-8F62-11F439E5EF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2" name="Textplatzhalter 10">
            <a:extLst>
              <a:ext uri="{FF2B5EF4-FFF2-40B4-BE49-F238E27FC236}">
                <a16:creationId xmlns:a16="http://schemas.microsoft.com/office/drawing/2014/main" id="{464FDCE6-9BEC-4CE4-9CEF-5FA12F52F8FF}"/>
              </a:ext>
            </a:extLst>
          </p:cNvPr>
          <p:cNvSpPr txBox="1">
            <a:spLocks/>
          </p:cNvSpPr>
          <p:nvPr/>
        </p:nvSpPr>
        <p:spPr>
          <a:xfrm>
            <a:off x="7598343" y="4093178"/>
            <a:ext cx="4140000" cy="96202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54000" tIns="36000" rIns="36000" bIns="3600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SzPct val="115000"/>
              <a:buFont typeface="Arial" pitchFamily="34" charset="0"/>
              <a:buNone/>
              <a:defRPr sz="1200" b="0">
                <a:cs typeface="Arial" pitchFamily="34" charset="0"/>
              </a:defRPr>
            </a:lvl1pPr>
            <a:lvl2pPr marL="187200" lvl="1" indent="-187200">
              <a:lnSpc>
                <a:spcPct val="90000"/>
              </a:lnSpc>
              <a:spcBef>
                <a:spcPts val="0"/>
              </a:spcBef>
              <a:buClr>
                <a:srgbClr val="052E5A"/>
              </a:buClr>
              <a:buSzPct val="115000"/>
              <a:buFont typeface="Wingdings" panose="05000000000000000000" pitchFamily="2" charset="2"/>
              <a:buChar char="§"/>
              <a:defRPr sz="1100" b="0">
                <a:solidFill>
                  <a:srgbClr val="000000"/>
                </a:solidFill>
                <a:cs typeface="Arial" pitchFamily="34" charset="0"/>
              </a:defRPr>
            </a:lvl2pPr>
            <a:lvl3pPr marL="374400" lvl="2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3pPr>
            <a:lvl4pPr marL="561600" lvl="3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4pPr>
            <a:lvl5pPr marL="748800" lvl="4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5pPr>
            <a:lvl6pPr marL="936000" lvl="5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6pPr>
            <a:lvl7pPr marL="1123200" lvl="6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7pPr>
            <a:lvl8pPr marL="1310400" lvl="7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8pPr>
            <a:lvl9pPr marL="1497600" lvl="8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9pPr>
          </a:lstStyle>
          <a:p>
            <a:pPr marL="0" lvl="1" indent="0">
              <a:spcBef>
                <a:spcPts val="200"/>
              </a:spcBef>
              <a:buClr>
                <a:schemeClr val="tx1"/>
              </a:buClr>
              <a:buNone/>
            </a:pPr>
            <a:r>
              <a:rPr lang="en-US" sz="1000" b="1" dirty="0">
                <a:solidFill>
                  <a:schemeClr val="tx1"/>
                </a:solidFill>
              </a:rPr>
              <a:t>Procurement Organization development</a:t>
            </a:r>
          </a:p>
          <a:p>
            <a:pPr lvl="1">
              <a:spcBef>
                <a:spcPts val="200"/>
              </a:spcBef>
              <a:buClr>
                <a:schemeClr val="tx1"/>
              </a:buClr>
            </a:pPr>
            <a:r>
              <a:rPr lang="en-US" sz="1000" dirty="0">
                <a:solidFill>
                  <a:schemeClr val="tx1"/>
                </a:solidFill>
              </a:rPr>
              <a:t>Target organizational structure for the Group developed</a:t>
            </a:r>
          </a:p>
          <a:p>
            <a:pPr lvl="1">
              <a:spcBef>
                <a:spcPts val="200"/>
              </a:spcBef>
              <a:buClr>
                <a:schemeClr val="tx1"/>
              </a:buClr>
            </a:pPr>
            <a:r>
              <a:rPr lang="en-US" sz="1000" dirty="0">
                <a:solidFill>
                  <a:schemeClr val="tx1"/>
                </a:solidFill>
              </a:rPr>
              <a:t>Synergies created by bundling tasks and responsibilities</a:t>
            </a:r>
          </a:p>
          <a:p>
            <a:pPr lvl="1">
              <a:spcBef>
                <a:spcPts val="200"/>
              </a:spcBef>
              <a:buClr>
                <a:schemeClr val="tx1"/>
              </a:buClr>
            </a:pPr>
            <a:r>
              <a:rPr lang="en-US" sz="1000" dirty="0">
                <a:solidFill>
                  <a:schemeClr val="tx1"/>
                </a:solidFill>
              </a:rPr>
              <a:t>Governance model reviewed and aligned</a:t>
            </a:r>
          </a:p>
          <a:p>
            <a:pPr lvl="1">
              <a:spcBef>
                <a:spcPts val="200"/>
              </a:spcBef>
              <a:buClr>
                <a:schemeClr val="tx1"/>
              </a:buClr>
            </a:pPr>
            <a:r>
              <a:rPr lang="en-US" sz="1000" dirty="0">
                <a:solidFill>
                  <a:schemeClr val="tx1"/>
                </a:solidFill>
              </a:rPr>
              <a:t>Process framework developed, incl. selected Level 2 processes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46" name="Textplatzhalter 10">
            <a:extLst>
              <a:ext uri="{FF2B5EF4-FFF2-40B4-BE49-F238E27FC236}">
                <a16:creationId xmlns:a16="http://schemas.microsoft.com/office/drawing/2014/main" id="{515B3F56-FF94-4E13-8E5B-9A35CB30FB5A}"/>
              </a:ext>
            </a:extLst>
          </p:cNvPr>
          <p:cNvSpPr txBox="1">
            <a:spLocks/>
          </p:cNvSpPr>
          <p:nvPr/>
        </p:nvSpPr>
        <p:spPr>
          <a:xfrm>
            <a:off x="1851186" y="4093178"/>
            <a:ext cx="4140000" cy="96202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54000" tIns="36000" rIns="36000" bIns="36000" rtlCol="0" anchor="ctr" anchorCtr="0">
            <a:noAutofit/>
          </a:bodyPr>
          <a:lstStyle>
            <a:defPPr>
              <a:defRPr lang="de-DE"/>
            </a:defPPr>
            <a:lvl1pPr marL="171450" indent="-171450">
              <a:lnSpc>
                <a:spcPct val="100000"/>
              </a:lnSpc>
              <a:spcBef>
                <a:spcPts val="500"/>
              </a:spcBef>
              <a:buClr>
                <a:srgbClr val="052E5A"/>
              </a:buClr>
              <a:buSzPct val="115000"/>
              <a:buFont typeface="Wingdings" pitchFamily="2" charset="2"/>
              <a:buChar char="§"/>
              <a:defRPr sz="1100" b="0">
                <a:cs typeface="Arial" pitchFamily="34" charset="0"/>
              </a:defRPr>
            </a:lvl1pPr>
            <a:lvl2pPr marL="144463" lvl="1" indent="-144463" defTabSz="762000" fontAlgn="base">
              <a:lnSpc>
                <a:spcPct val="95000"/>
              </a:lnSpc>
              <a:spcBef>
                <a:spcPts val="100"/>
              </a:spcBef>
              <a:buClr>
                <a:schemeClr val="tx2"/>
              </a:buClr>
              <a:buSzPct val="115000"/>
              <a:buFont typeface="Wingdings" pitchFamily="2" charset="2"/>
              <a:buChar char=""/>
              <a:defRPr sz="1000" b="0">
                <a:solidFill>
                  <a:schemeClr val="dk1"/>
                </a:solidFill>
                <a:cs typeface="Arial" pitchFamily="34" charset="0"/>
              </a:defRPr>
            </a:lvl2pPr>
            <a:lvl3pPr marL="374400" lvl="2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3pPr>
            <a:lvl4pPr marL="561600" lvl="3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4pPr>
            <a:lvl5pPr marL="748800" lvl="4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5pPr>
            <a:lvl6pPr marL="936000" lvl="5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6pPr>
            <a:lvl7pPr marL="1123200" lvl="6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7pPr>
            <a:lvl8pPr marL="1310400" lvl="7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8pPr>
            <a:lvl9pPr marL="1497600" lvl="8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9pPr>
          </a:lstStyle>
          <a:p>
            <a:pPr marL="0" lvl="1" indent="0">
              <a:buClr>
                <a:srgbClr val="052E5A"/>
              </a:buClr>
              <a:buNone/>
            </a:pPr>
            <a:r>
              <a:rPr lang="en-GB" b="1">
                <a:solidFill>
                  <a:srgbClr val="000000"/>
                </a:solidFill>
              </a:rPr>
              <a:t>New Target Operating Modell for </a:t>
            </a:r>
            <a:r>
              <a:rPr lang="en-GB" b="1" err="1">
                <a:solidFill>
                  <a:srgbClr val="000000"/>
                </a:solidFill>
              </a:rPr>
              <a:t>Indirects</a:t>
            </a:r>
            <a:endParaRPr lang="en-GB" b="1">
              <a:solidFill>
                <a:srgbClr val="000000"/>
              </a:solidFill>
            </a:endParaRPr>
          </a:p>
          <a:p>
            <a:pPr marL="136525" lvl="1" indent="-136525">
              <a:buClr>
                <a:srgbClr val="052E5A"/>
              </a:buClr>
              <a:buFont typeface="Wingdings" pitchFamily="2" charset="2"/>
              <a:buChar char="§"/>
            </a:pPr>
            <a:r>
              <a:rPr lang="en-GB">
                <a:solidFill>
                  <a:srgbClr val="000000"/>
                </a:solidFill>
              </a:rPr>
              <a:t>Redesign of the purchasing &amp; pooling organization</a:t>
            </a:r>
          </a:p>
          <a:p>
            <a:pPr marL="136525" lvl="1" indent="-136525">
              <a:buClr>
                <a:srgbClr val="052E5A"/>
              </a:buClr>
              <a:buFont typeface="Wingdings" pitchFamily="2" charset="2"/>
              <a:buChar char="§"/>
            </a:pPr>
            <a:r>
              <a:rPr lang="en-GB">
                <a:solidFill>
                  <a:srgbClr val="000000"/>
                </a:solidFill>
              </a:rPr>
              <a:t>Development of indirect purchasing strategy 2020+</a:t>
            </a:r>
          </a:p>
          <a:p>
            <a:pPr marL="136525" lvl="1" indent="-136525">
              <a:buClr>
                <a:srgbClr val="052E5A"/>
              </a:buClr>
              <a:buFont typeface="Wingdings" pitchFamily="2" charset="2"/>
              <a:buChar char="§"/>
            </a:pPr>
            <a:r>
              <a:rPr lang="en-GB">
                <a:solidFill>
                  <a:srgbClr val="000000"/>
                </a:solidFill>
              </a:rPr>
              <a:t>Design Category Mgt. Policies and processes</a:t>
            </a:r>
          </a:p>
          <a:p>
            <a:pPr marL="136525" lvl="1" indent="-136525">
              <a:buClr>
                <a:srgbClr val="052E5A"/>
              </a:buClr>
              <a:buFont typeface="Wingdings" pitchFamily="2" charset="2"/>
              <a:buChar char="§"/>
            </a:pPr>
            <a:r>
              <a:rPr lang="en-GB">
                <a:solidFill>
                  <a:srgbClr val="000000"/>
                </a:solidFill>
              </a:rPr>
              <a:t>Blueprint of the Procurement organization, incl. roles, processes</a:t>
            </a:r>
            <a:endParaRPr lang="en-GB">
              <a:solidFill>
                <a:schemeClr val="tx1"/>
              </a:solidFill>
            </a:endParaRPr>
          </a:p>
        </p:txBody>
      </p:sp>
      <p:sp>
        <p:nvSpPr>
          <p:cNvPr id="55" name="Textplatzhalter 10">
            <a:extLst>
              <a:ext uri="{FF2B5EF4-FFF2-40B4-BE49-F238E27FC236}">
                <a16:creationId xmlns:a16="http://schemas.microsoft.com/office/drawing/2014/main" id="{BAF238C1-0B85-49D3-BFBC-C754EF8BE493}"/>
              </a:ext>
            </a:extLst>
          </p:cNvPr>
          <p:cNvSpPr txBox="1">
            <a:spLocks/>
          </p:cNvSpPr>
          <p:nvPr/>
        </p:nvSpPr>
        <p:spPr>
          <a:xfrm>
            <a:off x="1851186" y="1972083"/>
            <a:ext cx="4140000" cy="96202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54000" tIns="36000" rIns="36000" bIns="3600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SzPct val="115000"/>
              <a:buFont typeface="Arial" pitchFamily="34" charset="0"/>
              <a:buNone/>
              <a:defRPr sz="1200" b="0">
                <a:cs typeface="Arial" pitchFamily="34" charset="0"/>
              </a:defRPr>
            </a:lvl1pPr>
            <a:lvl2pPr marL="187200" lvl="1" indent="-187200">
              <a:lnSpc>
                <a:spcPct val="90000"/>
              </a:lnSpc>
              <a:spcBef>
                <a:spcPts val="0"/>
              </a:spcBef>
              <a:buClr>
                <a:srgbClr val="052E5A"/>
              </a:buClr>
              <a:buSzPct val="115000"/>
              <a:buFont typeface="Wingdings" panose="05000000000000000000" pitchFamily="2" charset="2"/>
              <a:buChar char="§"/>
              <a:defRPr sz="1100" b="0">
                <a:solidFill>
                  <a:srgbClr val="000000"/>
                </a:solidFill>
                <a:cs typeface="Arial" pitchFamily="34" charset="0"/>
              </a:defRPr>
            </a:lvl2pPr>
            <a:lvl3pPr marL="374400" lvl="2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3pPr>
            <a:lvl4pPr marL="561600" lvl="3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4pPr>
            <a:lvl5pPr marL="748800" lvl="4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5pPr>
            <a:lvl6pPr marL="936000" lvl="5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6pPr>
            <a:lvl7pPr marL="1123200" lvl="6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7pPr>
            <a:lvl8pPr marL="1310400" lvl="7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8pPr>
            <a:lvl9pPr marL="1497600" lvl="8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9pPr>
          </a:lstStyle>
          <a:p>
            <a:pPr marL="0" lvl="1" indent="0">
              <a:spcBef>
                <a:spcPts val="200"/>
              </a:spcBef>
              <a:buClr>
                <a:schemeClr val="tx1"/>
              </a:buClr>
              <a:buNone/>
            </a:pPr>
            <a:r>
              <a:rPr lang="en-US" sz="1000" b="1">
                <a:solidFill>
                  <a:schemeClr val="tx1"/>
                </a:solidFill>
              </a:rPr>
              <a:t>Redesign of Target Operating Model</a:t>
            </a:r>
          </a:p>
          <a:p>
            <a:pPr lvl="1">
              <a:spcBef>
                <a:spcPts val="200"/>
              </a:spcBef>
              <a:buClr>
                <a:schemeClr val="tx1"/>
              </a:buClr>
            </a:pPr>
            <a:r>
              <a:rPr lang="en-US" sz="1000">
                <a:solidFill>
                  <a:schemeClr val="tx1"/>
                </a:solidFill>
              </a:rPr>
              <a:t>Set up of new Target Operating Model incl. organization &amp; sizing, governance structure, processes, roles &amp; responsibilities, trainings</a:t>
            </a:r>
          </a:p>
          <a:p>
            <a:pPr lvl="1">
              <a:spcBef>
                <a:spcPts val="200"/>
              </a:spcBef>
              <a:buClr>
                <a:schemeClr val="tx1"/>
              </a:buClr>
            </a:pPr>
            <a:r>
              <a:rPr lang="en-US" sz="1000">
                <a:solidFill>
                  <a:schemeClr val="tx1"/>
                </a:solidFill>
              </a:rPr>
              <a:t>Savings initiatives in categories realized</a:t>
            </a:r>
          </a:p>
          <a:p>
            <a:pPr lvl="1">
              <a:spcBef>
                <a:spcPts val="200"/>
              </a:spcBef>
              <a:buClr>
                <a:schemeClr val="tx1"/>
              </a:buClr>
            </a:pPr>
            <a:r>
              <a:rPr lang="en-US" sz="1000">
                <a:solidFill>
                  <a:schemeClr val="tx1"/>
                </a:solidFill>
              </a:rPr>
              <a:t>Improvement of x-functional collaboration </a:t>
            </a:r>
          </a:p>
        </p:txBody>
      </p:sp>
      <p:sp>
        <p:nvSpPr>
          <p:cNvPr id="58" name="Textplatzhalter 10">
            <a:extLst>
              <a:ext uri="{FF2B5EF4-FFF2-40B4-BE49-F238E27FC236}">
                <a16:creationId xmlns:a16="http://schemas.microsoft.com/office/drawing/2014/main" id="{75EFFD06-14A3-43E1-85E5-2219387DC6C6}"/>
              </a:ext>
            </a:extLst>
          </p:cNvPr>
          <p:cNvSpPr txBox="1">
            <a:spLocks/>
          </p:cNvSpPr>
          <p:nvPr/>
        </p:nvSpPr>
        <p:spPr>
          <a:xfrm>
            <a:off x="7598343" y="1972083"/>
            <a:ext cx="4140000" cy="96202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54000" tIns="36000" rIns="36000" bIns="36000" rtlCol="0" anchor="ctr" anchorCtr="0">
            <a:noAutofit/>
          </a:bodyPr>
          <a:lstStyle>
            <a:defPPr>
              <a:defRPr lang="de-DE"/>
            </a:defPPr>
            <a:lvl1pPr indent="0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SzPct val="115000"/>
              <a:buFont typeface="Arial" pitchFamily="34" charset="0"/>
              <a:buNone/>
              <a:defRPr sz="1200" b="0">
                <a:cs typeface="Arial" pitchFamily="34" charset="0"/>
              </a:defRPr>
            </a:lvl1pPr>
            <a:lvl2pPr marL="187200" lvl="1" indent="-187200">
              <a:lnSpc>
                <a:spcPct val="90000"/>
              </a:lnSpc>
              <a:spcBef>
                <a:spcPts val="0"/>
              </a:spcBef>
              <a:buClr>
                <a:srgbClr val="052E5A"/>
              </a:buClr>
              <a:buSzPct val="115000"/>
              <a:buFont typeface="Wingdings" panose="05000000000000000000" pitchFamily="2" charset="2"/>
              <a:buChar char="§"/>
              <a:defRPr sz="1100" b="0">
                <a:solidFill>
                  <a:srgbClr val="000000"/>
                </a:solidFill>
                <a:cs typeface="Arial" pitchFamily="34" charset="0"/>
              </a:defRPr>
            </a:lvl2pPr>
            <a:lvl3pPr marL="374400" lvl="2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3pPr>
            <a:lvl4pPr marL="561600" lvl="3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4pPr>
            <a:lvl5pPr marL="748800" lvl="4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5pPr>
            <a:lvl6pPr marL="936000" lvl="5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6pPr>
            <a:lvl7pPr marL="1123200" lvl="6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7pPr>
            <a:lvl8pPr marL="1310400" lvl="7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8pPr>
            <a:lvl9pPr marL="1497600" lvl="8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9pPr>
          </a:lstStyle>
          <a:p>
            <a:pPr marL="0" lvl="1" indent="0">
              <a:spcBef>
                <a:spcPts val="0"/>
              </a:spcBef>
              <a:buClr>
                <a:srgbClr val="052E5A"/>
              </a:buClr>
              <a:buNone/>
            </a:pPr>
            <a:r>
              <a:rPr lang="en-US" sz="1000" b="1" dirty="0">
                <a:solidFill>
                  <a:srgbClr val="000000"/>
                </a:solidFill>
              </a:rPr>
              <a:t>Procurement organizational design indirect Procurement</a:t>
            </a:r>
          </a:p>
          <a:p>
            <a:pPr marL="136525" lvl="1" indent="-136525" fontAlgn="base">
              <a:lnSpc>
                <a:spcPct val="95000"/>
              </a:lnSpc>
              <a:defRPr/>
            </a:pPr>
            <a:r>
              <a:rPr lang="en-US" sz="1000" dirty="0"/>
              <a:t>Activity and task analysis</a:t>
            </a:r>
          </a:p>
          <a:p>
            <a:pPr marL="136525" lvl="1" indent="-136525" fontAlgn="base">
              <a:lnSpc>
                <a:spcPct val="95000"/>
              </a:lnSpc>
              <a:defRPr/>
            </a:pPr>
            <a:r>
              <a:rPr lang="en-US" sz="1000" dirty="0"/>
              <a:t>New organizational concept, governance, mandate</a:t>
            </a:r>
          </a:p>
          <a:p>
            <a:pPr marL="136525" lvl="1" indent="-136525" fontAlgn="base">
              <a:lnSpc>
                <a:spcPct val="95000"/>
              </a:lnSpc>
              <a:defRPr/>
            </a:pPr>
            <a:r>
              <a:rPr lang="en-US" sz="1000" dirty="0"/>
              <a:t>Optimization of core processes and digitization options</a:t>
            </a:r>
          </a:p>
          <a:p>
            <a:pPr marL="136525" lvl="1" indent="-136525" fontAlgn="base">
              <a:lnSpc>
                <a:spcPct val="95000"/>
              </a:lnSpc>
              <a:defRPr/>
            </a:pPr>
            <a:r>
              <a:rPr lang="en-US" sz="1000" dirty="0"/>
              <a:t>Dimensioning of the functions and Org Blue Print</a:t>
            </a:r>
          </a:p>
        </p:txBody>
      </p:sp>
      <p:sp>
        <p:nvSpPr>
          <p:cNvPr id="60" name="Textplatzhalter 10">
            <a:extLst>
              <a:ext uri="{FF2B5EF4-FFF2-40B4-BE49-F238E27FC236}">
                <a16:creationId xmlns:a16="http://schemas.microsoft.com/office/drawing/2014/main" id="{164AF5DE-84C7-4680-8877-39BCA19CBE57}"/>
              </a:ext>
            </a:extLst>
          </p:cNvPr>
          <p:cNvSpPr txBox="1">
            <a:spLocks/>
          </p:cNvSpPr>
          <p:nvPr/>
        </p:nvSpPr>
        <p:spPr>
          <a:xfrm>
            <a:off x="7598343" y="3042463"/>
            <a:ext cx="4140000" cy="96202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54000" tIns="36000" rIns="0" bIns="3600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SzPct val="115000"/>
              <a:buFont typeface="Arial" pitchFamily="34" charset="0"/>
              <a:buNone/>
              <a:defRPr sz="1200" b="0">
                <a:cs typeface="Arial" pitchFamily="34" charset="0"/>
              </a:defRPr>
            </a:lvl1pPr>
            <a:lvl2pPr marL="187200" lvl="1" indent="-187200">
              <a:lnSpc>
                <a:spcPct val="90000"/>
              </a:lnSpc>
              <a:spcBef>
                <a:spcPts val="300"/>
              </a:spcBef>
              <a:buClr>
                <a:srgbClr val="052E5A"/>
              </a:buClr>
              <a:buSzPct val="115000"/>
              <a:buFont typeface="Wingdings" panose="05000000000000000000" pitchFamily="2" charset="2"/>
              <a:buChar char="§"/>
              <a:defRPr sz="1000" b="0">
                <a:solidFill>
                  <a:srgbClr val="000000"/>
                </a:solidFill>
                <a:cs typeface="Arial" pitchFamily="34" charset="0"/>
              </a:defRPr>
            </a:lvl2pPr>
            <a:lvl3pPr marL="374400" lvl="2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3pPr>
            <a:lvl4pPr marL="561600" lvl="3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4pPr>
            <a:lvl5pPr marL="748800" lvl="4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5pPr>
            <a:lvl6pPr marL="936000" lvl="5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6pPr>
            <a:lvl7pPr marL="1123200" lvl="6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7pPr>
            <a:lvl8pPr marL="1310400" lvl="7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8pPr>
            <a:lvl9pPr marL="1497600" lvl="8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9pPr>
          </a:lstStyle>
          <a:p>
            <a:pPr fontAlgn="base">
              <a:spcBef>
                <a:spcPts val="0"/>
              </a:spcBef>
              <a:buClr>
                <a:srgbClr val="052E5A"/>
              </a:buClr>
              <a:defRPr/>
            </a:pPr>
            <a:r>
              <a:rPr lang="en-GB" sz="1000" b="1">
                <a:solidFill>
                  <a:srgbClr val="000000"/>
                </a:solidFill>
              </a:rPr>
              <a:t>Structural optimization and cost down</a:t>
            </a:r>
          </a:p>
          <a:p>
            <a:pPr marL="136525" lvl="1" indent="-136525" defTabSz="914400" fontAlgn="base">
              <a:lnSpc>
                <a:spcPct val="95000"/>
              </a:lnSpc>
              <a:spcBef>
                <a:spcPts val="0"/>
              </a:spcBef>
              <a:buClr>
                <a:srgbClr val="052E5A"/>
              </a:buClr>
              <a:buFont typeface="Wingdings" pitchFamily="2" charset="2"/>
              <a:buChar char="§"/>
              <a:defRPr/>
            </a:pPr>
            <a:r>
              <a:rPr lang="en-GB">
                <a:solidFill>
                  <a:srgbClr val="000000"/>
                </a:solidFill>
              </a:rPr>
              <a:t>Concept for structural optimization (organization, processes, responsibilities, KPIs, etc.)</a:t>
            </a:r>
          </a:p>
          <a:p>
            <a:pPr marL="136525" lvl="1" indent="-136525" defTabSz="914400" fontAlgn="base">
              <a:lnSpc>
                <a:spcPct val="95000"/>
              </a:lnSpc>
              <a:spcBef>
                <a:spcPts val="0"/>
              </a:spcBef>
              <a:buClr>
                <a:srgbClr val="052E5A"/>
              </a:buClr>
              <a:buFont typeface="Wingdings" pitchFamily="2" charset="2"/>
              <a:buChar char="§"/>
              <a:defRPr/>
            </a:pPr>
            <a:r>
              <a:rPr lang="en-GB">
                <a:solidFill>
                  <a:srgbClr val="000000"/>
                </a:solidFill>
              </a:rPr>
              <a:t>Bottom line savings program – conduction of supplier days, negotiation trainings</a:t>
            </a:r>
          </a:p>
        </p:txBody>
      </p:sp>
      <p:sp>
        <p:nvSpPr>
          <p:cNvPr id="66" name="Textplatzhalter 10">
            <a:extLst>
              <a:ext uri="{FF2B5EF4-FFF2-40B4-BE49-F238E27FC236}">
                <a16:creationId xmlns:a16="http://schemas.microsoft.com/office/drawing/2014/main" id="{C27B1083-DBDD-4560-8073-EC9FCAFCBEDA}"/>
              </a:ext>
            </a:extLst>
          </p:cNvPr>
          <p:cNvSpPr txBox="1">
            <a:spLocks/>
          </p:cNvSpPr>
          <p:nvPr/>
        </p:nvSpPr>
        <p:spPr>
          <a:xfrm>
            <a:off x="1851186" y="3042463"/>
            <a:ext cx="4140000" cy="96202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54000" tIns="36000" rIns="36000" bIns="36000" rtlCol="0" anchor="ctr" anchorCtr="0">
            <a:noAutofit/>
          </a:bodyPr>
          <a:lstStyle>
            <a:defPPr>
              <a:defRPr lang="de-DE"/>
            </a:defPPr>
            <a:lvl1pPr marL="171450" indent="-171450">
              <a:lnSpc>
                <a:spcPct val="100000"/>
              </a:lnSpc>
              <a:spcBef>
                <a:spcPts val="500"/>
              </a:spcBef>
              <a:buClr>
                <a:srgbClr val="052E5A"/>
              </a:buClr>
              <a:buSzPct val="115000"/>
              <a:buFont typeface="Wingdings" pitchFamily="2" charset="2"/>
              <a:buChar char="§"/>
              <a:defRPr sz="1100" b="0">
                <a:cs typeface="Arial" pitchFamily="34" charset="0"/>
              </a:defRPr>
            </a:lvl1pPr>
            <a:lvl2pPr marL="144463" lvl="1" indent="-144463" defTabSz="762000" fontAlgn="base">
              <a:lnSpc>
                <a:spcPct val="95000"/>
              </a:lnSpc>
              <a:spcBef>
                <a:spcPts val="100"/>
              </a:spcBef>
              <a:buClr>
                <a:schemeClr val="tx2"/>
              </a:buClr>
              <a:buSzPct val="115000"/>
              <a:buFont typeface="Wingdings" pitchFamily="2" charset="2"/>
              <a:buChar char=""/>
              <a:defRPr sz="1000" b="0">
                <a:solidFill>
                  <a:schemeClr val="dk1"/>
                </a:solidFill>
                <a:cs typeface="Arial" pitchFamily="34" charset="0"/>
              </a:defRPr>
            </a:lvl2pPr>
            <a:lvl3pPr marL="374400" lvl="2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3pPr>
            <a:lvl4pPr marL="561600" lvl="3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4pPr>
            <a:lvl5pPr marL="748800" lvl="4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5pPr>
            <a:lvl6pPr marL="936000" lvl="5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6pPr>
            <a:lvl7pPr marL="1123200" lvl="6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7pPr>
            <a:lvl8pPr marL="1310400" lvl="7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8pPr>
            <a:lvl9pPr marL="1497600" lvl="8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9pPr>
          </a:lstStyle>
          <a:p>
            <a:pPr marL="0" lvl="1" indent="0" fontAlgn="base">
              <a:buClr>
                <a:srgbClr val="052E5A"/>
              </a:buClr>
              <a:buNone/>
              <a:defRPr/>
            </a:pPr>
            <a:r>
              <a:rPr lang="en-GB" b="1" err="1">
                <a:solidFill>
                  <a:srgbClr val="000000"/>
                </a:solidFill>
              </a:rPr>
              <a:t>Healthineers</a:t>
            </a:r>
            <a:r>
              <a:rPr lang="en-GB" b="1">
                <a:solidFill>
                  <a:srgbClr val="000000"/>
                </a:solidFill>
              </a:rPr>
              <a:t> carve out from Siemens</a:t>
            </a:r>
          </a:p>
          <a:p>
            <a:pPr marL="187200" lvl="1" indent="-187200">
              <a:buClr>
                <a:srgbClr val="052E5A"/>
              </a:buClr>
            </a:pPr>
            <a:r>
              <a:rPr lang="en-GB">
                <a:solidFill>
                  <a:srgbClr val="000000"/>
                </a:solidFill>
              </a:rPr>
              <a:t>Organizational setup for Indirect Procurement in Germany and US – incl. indirect Procurement Strategy</a:t>
            </a:r>
          </a:p>
          <a:p>
            <a:pPr marL="187200" lvl="1" indent="-187200">
              <a:buClr>
                <a:srgbClr val="052E5A"/>
              </a:buClr>
            </a:pPr>
            <a:r>
              <a:rPr lang="en-GB">
                <a:solidFill>
                  <a:srgbClr val="000000"/>
                </a:solidFill>
              </a:rPr>
              <a:t>Design and steering principle for organization worldwide</a:t>
            </a:r>
          </a:p>
          <a:p>
            <a:pPr marL="187200" lvl="1" indent="-187200">
              <a:buClr>
                <a:srgbClr val="052E5A"/>
              </a:buClr>
            </a:pPr>
            <a:r>
              <a:rPr lang="en-GB">
                <a:solidFill>
                  <a:srgbClr val="000000"/>
                </a:solidFill>
              </a:rPr>
              <a:t>Savings contribution doubled vs. Siemens Proc.</a:t>
            </a:r>
          </a:p>
          <a:p>
            <a:pPr marL="187200" lvl="1" indent="-187200">
              <a:buClr>
                <a:srgbClr val="052E5A"/>
              </a:buClr>
            </a:pPr>
            <a:r>
              <a:rPr lang="en-GB">
                <a:solidFill>
                  <a:srgbClr val="000000"/>
                </a:solidFill>
              </a:rPr>
              <a:t>20% efficiency gains through streamlined organization</a:t>
            </a:r>
          </a:p>
        </p:txBody>
      </p:sp>
      <p:sp>
        <p:nvSpPr>
          <p:cNvPr id="82" name="Textplatzhalter 10">
            <a:extLst>
              <a:ext uri="{FF2B5EF4-FFF2-40B4-BE49-F238E27FC236}">
                <a16:creationId xmlns:a16="http://schemas.microsoft.com/office/drawing/2014/main" id="{BD29A5EE-206E-4F38-B182-5C92C99D5876}"/>
              </a:ext>
            </a:extLst>
          </p:cNvPr>
          <p:cNvSpPr txBox="1">
            <a:spLocks/>
          </p:cNvSpPr>
          <p:nvPr/>
        </p:nvSpPr>
        <p:spPr>
          <a:xfrm>
            <a:off x="1851186" y="5183222"/>
            <a:ext cx="4140000" cy="96202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54000" tIns="36000" rIns="36000" bIns="36000" rtlCol="0" anchor="ctr" anchorCtr="0">
            <a:noAutofit/>
          </a:bodyPr>
          <a:lstStyle>
            <a:defPPr>
              <a:defRPr lang="de-DE"/>
            </a:defPPr>
            <a:lvl1pPr marL="171450" indent="-171450">
              <a:lnSpc>
                <a:spcPct val="100000"/>
              </a:lnSpc>
              <a:spcBef>
                <a:spcPts val="500"/>
              </a:spcBef>
              <a:buClr>
                <a:srgbClr val="052E5A"/>
              </a:buClr>
              <a:buSzPct val="115000"/>
              <a:buFont typeface="Wingdings" pitchFamily="2" charset="2"/>
              <a:buChar char="§"/>
              <a:defRPr sz="1100" b="0">
                <a:cs typeface="Arial" pitchFamily="34" charset="0"/>
              </a:defRPr>
            </a:lvl1pPr>
            <a:lvl2pPr marL="144463" lvl="1" indent="-144463" defTabSz="762000" fontAlgn="base">
              <a:lnSpc>
                <a:spcPct val="95000"/>
              </a:lnSpc>
              <a:spcBef>
                <a:spcPts val="100"/>
              </a:spcBef>
              <a:buClr>
                <a:schemeClr val="tx2"/>
              </a:buClr>
              <a:buSzPct val="115000"/>
              <a:buFont typeface="Wingdings" pitchFamily="2" charset="2"/>
              <a:buChar char=""/>
              <a:defRPr sz="1000" b="0">
                <a:solidFill>
                  <a:schemeClr val="dk1"/>
                </a:solidFill>
                <a:cs typeface="Arial" pitchFamily="34" charset="0"/>
              </a:defRPr>
            </a:lvl2pPr>
            <a:lvl3pPr marL="374400" lvl="2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3pPr>
            <a:lvl4pPr marL="561600" lvl="3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4pPr>
            <a:lvl5pPr marL="748800" lvl="4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5pPr>
            <a:lvl6pPr marL="936000" lvl="5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6pPr>
            <a:lvl7pPr marL="1123200" lvl="6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7pPr>
            <a:lvl8pPr marL="1310400" lvl="7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8pPr>
            <a:lvl9pPr marL="1497600" lvl="8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9pPr>
          </a:lstStyle>
          <a:p>
            <a:pPr marL="0" lvl="1" indent="0">
              <a:spcBef>
                <a:spcPts val="200"/>
              </a:spcBef>
              <a:buClr>
                <a:schemeClr val="tx1"/>
              </a:buClr>
              <a:buNone/>
            </a:pPr>
            <a:r>
              <a:rPr lang="en-US" b="1">
                <a:solidFill>
                  <a:schemeClr val="tx1"/>
                </a:solidFill>
              </a:rPr>
              <a:t>Transformation of the global purchasing function </a:t>
            </a:r>
          </a:p>
          <a:p>
            <a:pPr lvl="1">
              <a:spcBef>
                <a:spcPts val="2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tx1"/>
                </a:solidFill>
              </a:rPr>
              <a:t>Transformation of the global purchasing function from a decentralized setup to a functional setup with PM, NPM, Projects and SQM</a:t>
            </a:r>
          </a:p>
          <a:p>
            <a:pPr lvl="1">
              <a:spcBef>
                <a:spcPts val="2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tx1"/>
                </a:solidFill>
              </a:rPr>
              <a:t>Design &amp; dimensioning of the organization</a:t>
            </a:r>
          </a:p>
          <a:p>
            <a:pPr lvl="1">
              <a:spcBef>
                <a:spcPts val="2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tx1"/>
                </a:solidFill>
              </a:rPr>
              <a:t>Definition of all processes &amp; interfaces</a:t>
            </a:r>
          </a:p>
        </p:txBody>
      </p:sp>
      <p:sp>
        <p:nvSpPr>
          <p:cNvPr id="84" name="Textplatzhalter 10">
            <a:extLst>
              <a:ext uri="{FF2B5EF4-FFF2-40B4-BE49-F238E27FC236}">
                <a16:creationId xmlns:a16="http://schemas.microsoft.com/office/drawing/2014/main" id="{527EFF3E-3AE2-48EC-B0B1-080A402B3D1D}"/>
              </a:ext>
            </a:extLst>
          </p:cNvPr>
          <p:cNvSpPr txBox="1">
            <a:spLocks/>
          </p:cNvSpPr>
          <p:nvPr/>
        </p:nvSpPr>
        <p:spPr>
          <a:xfrm>
            <a:off x="7598342" y="5183222"/>
            <a:ext cx="4140000" cy="96202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54000" tIns="36000" rIns="36000" bIns="3600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95000"/>
              </a:lnSpc>
              <a:spcBef>
                <a:spcPts val="500"/>
              </a:spcBef>
              <a:buClr>
                <a:schemeClr val="tx2"/>
              </a:buClr>
              <a:buSzPct val="115000"/>
              <a:buFont typeface="Arial" pitchFamily="34" charset="0"/>
              <a:buNone/>
              <a:defRPr sz="1200" b="0">
                <a:cs typeface="Arial" pitchFamily="34" charset="0"/>
              </a:defRPr>
            </a:lvl1pPr>
            <a:lvl2pPr marL="187200" lvl="1" indent="-187200">
              <a:lnSpc>
                <a:spcPct val="90000"/>
              </a:lnSpc>
              <a:spcBef>
                <a:spcPts val="300"/>
              </a:spcBef>
              <a:buClr>
                <a:srgbClr val="052E5A"/>
              </a:buClr>
              <a:buSzPct val="115000"/>
              <a:buFont typeface="Wingdings" panose="05000000000000000000" pitchFamily="2" charset="2"/>
              <a:buChar char="§"/>
              <a:defRPr sz="1100" b="0">
                <a:solidFill>
                  <a:srgbClr val="000000"/>
                </a:solidFill>
                <a:cs typeface="Arial" pitchFamily="34" charset="0"/>
              </a:defRPr>
            </a:lvl2pPr>
            <a:lvl3pPr marL="374400" lvl="2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3pPr>
            <a:lvl4pPr marL="561600" lvl="3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4pPr>
            <a:lvl5pPr marL="748800" lvl="4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5pPr>
            <a:lvl6pPr marL="936000" lvl="5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6pPr>
            <a:lvl7pPr marL="1123200" lvl="6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7pPr>
            <a:lvl8pPr marL="1310400" lvl="7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8pPr>
            <a:lvl9pPr marL="1497600" lvl="8" indent="-18720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SzPct val="115000"/>
              <a:buFont typeface="Symbol" pitchFamily="18" charset="2"/>
              <a:buChar char=""/>
              <a:defRPr sz="1200" b="0">
                <a:cs typeface="Arial" pitchFamily="34" charset="0"/>
              </a:defRPr>
            </a:lvl9pPr>
          </a:lstStyle>
          <a:p>
            <a:pPr marL="0" lvl="1" indent="0">
              <a:spcBef>
                <a:spcPts val="200"/>
              </a:spcBef>
              <a:buClr>
                <a:schemeClr val="tx1"/>
              </a:buClr>
              <a:buNone/>
            </a:pPr>
            <a:r>
              <a:rPr lang="en-US" sz="1000" b="1">
                <a:solidFill>
                  <a:schemeClr val="tx1"/>
                </a:solidFill>
              </a:rPr>
              <a:t>Design &amp; implementation new target operating model</a:t>
            </a:r>
          </a:p>
          <a:p>
            <a:pPr lvl="1">
              <a:spcBef>
                <a:spcPts val="200"/>
              </a:spcBef>
              <a:buClr>
                <a:schemeClr val="tx1"/>
              </a:buClr>
            </a:pPr>
            <a:r>
              <a:rPr lang="en-US" sz="1000">
                <a:solidFill>
                  <a:schemeClr val="tx1"/>
                </a:solidFill>
              </a:rPr>
              <a:t>Concept design of new organization, blueprint, org charts, sizing and governance model</a:t>
            </a:r>
          </a:p>
          <a:p>
            <a:pPr lvl="1">
              <a:spcBef>
                <a:spcPts val="200"/>
              </a:spcBef>
              <a:buClr>
                <a:schemeClr val="tx1"/>
              </a:buClr>
            </a:pPr>
            <a:r>
              <a:rPr lang="en-US" sz="1000">
                <a:solidFill>
                  <a:schemeClr val="tx1"/>
                </a:solidFill>
              </a:rPr>
              <a:t>Optimization of core processes</a:t>
            </a:r>
          </a:p>
          <a:p>
            <a:pPr lvl="1">
              <a:spcBef>
                <a:spcPts val="200"/>
              </a:spcBef>
              <a:buClr>
                <a:schemeClr val="tx1"/>
              </a:buClr>
            </a:pPr>
            <a:r>
              <a:rPr lang="en-US" sz="1000">
                <a:solidFill>
                  <a:schemeClr val="tx1"/>
                </a:solidFill>
              </a:rPr>
              <a:t>Increase of level of pooling</a:t>
            </a:r>
          </a:p>
        </p:txBody>
      </p:sp>
      <p:pic>
        <p:nvPicPr>
          <p:cNvPr id="37" name="Picture 2" descr="Home - Siemens Healthineers Deutschland">
            <a:extLst>
              <a:ext uri="{FF2B5EF4-FFF2-40B4-BE49-F238E27FC236}">
                <a16:creationId xmlns:a16="http://schemas.microsoft.com/office/drawing/2014/main" id="{36307634-A52A-43D6-BCBD-604124F089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7649" y="3358276"/>
            <a:ext cx="1027074" cy="255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B2EC83C6-1B79-4815-B4E2-EE8290C593E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015" y="2350494"/>
            <a:ext cx="1067044" cy="205201"/>
          </a:xfrm>
          <a:prstGeom prst="rect">
            <a:avLst/>
          </a:prstGeom>
        </p:spPr>
      </p:pic>
      <p:pic>
        <p:nvPicPr>
          <p:cNvPr id="34" name="Picture 29" descr="C:\Users\Korisnik\Desktop\1024px-Knauf_Gips_logo.svg.png">
            <a:extLst>
              <a:ext uri="{FF2B5EF4-FFF2-40B4-BE49-F238E27FC236}">
                <a16:creationId xmlns:a16="http://schemas.microsoft.com/office/drawing/2014/main" id="{4A2D0540-E411-49C9-8351-C35A4DE891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64338" y="5409397"/>
            <a:ext cx="862313" cy="574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15">
            <a:extLst>
              <a:ext uri="{FF2B5EF4-FFF2-40B4-BE49-F238E27FC236}">
                <a16:creationId xmlns:a16="http://schemas.microsoft.com/office/drawing/2014/main" id="{C474EBCB-AC74-4611-BD8C-3BE26A3990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clrChange>
              <a:clrFrom>
                <a:srgbClr val="FCFEFF"/>
              </a:clrFrom>
              <a:clrTo>
                <a:srgbClr val="FCFE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6221" y="3252323"/>
            <a:ext cx="1221877" cy="460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Grafik 66">
            <a:extLst>
              <a:ext uri="{FF2B5EF4-FFF2-40B4-BE49-F238E27FC236}">
                <a16:creationId xmlns:a16="http://schemas.microsoft.com/office/drawing/2014/main" id="{5999B0D2-944F-4330-8472-640F4797AA0E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7900" y="4344637"/>
            <a:ext cx="534698" cy="482276"/>
          </a:xfrm>
          <a:prstGeom prst="rect">
            <a:avLst/>
          </a:prstGeom>
        </p:spPr>
      </p:pic>
      <p:pic>
        <p:nvPicPr>
          <p:cNvPr id="44" name="Picture 14" descr="http://upload.wikimedia.org/wikipedia/commons/thumb/7/7f/Stihl_Logo.svg/320px-Stihl_Logo.svg.png">
            <a:extLst>
              <a:ext uri="{FF2B5EF4-FFF2-40B4-BE49-F238E27FC236}">
                <a16:creationId xmlns:a16="http://schemas.microsoft.com/office/drawing/2014/main" id="{64273909-D9BB-4227-9C66-429ACE295B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4860" y="4474553"/>
            <a:ext cx="852969" cy="223905"/>
          </a:xfrm>
          <a:prstGeom prst="rect">
            <a:avLst/>
          </a:prstGeom>
          <a:noFill/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7F415071-791B-40E1-9FF4-C1F1075C07EF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98428" y="5519154"/>
            <a:ext cx="865516" cy="313537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195998FA-E396-48FA-8A79-74CF3C52A597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86168" y="2336009"/>
            <a:ext cx="998161" cy="234169"/>
          </a:xfrm>
          <a:prstGeom prst="rect">
            <a:avLst/>
          </a:prstGeom>
        </p:spPr>
      </p:pic>
      <p:cxnSp>
        <p:nvCxnSpPr>
          <p:cNvPr id="4" name="Straight Connector 80">
            <a:extLst>
              <a:ext uri="{FF2B5EF4-FFF2-40B4-BE49-F238E27FC236}">
                <a16:creationId xmlns:a16="http://schemas.microsoft.com/office/drawing/2014/main" id="{ABF6A9E8-A369-444F-0076-DDB9FCEC812D}"/>
              </a:ext>
            </a:extLst>
          </p:cNvPr>
          <p:cNvCxnSpPr/>
          <p:nvPr/>
        </p:nvCxnSpPr>
        <p:spPr>
          <a:xfrm>
            <a:off x="404812" y="2977054"/>
            <a:ext cx="55800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81">
            <a:extLst>
              <a:ext uri="{FF2B5EF4-FFF2-40B4-BE49-F238E27FC236}">
                <a16:creationId xmlns:a16="http://schemas.microsoft.com/office/drawing/2014/main" id="{B10FE1B0-E6D6-55F1-8647-0D39E463BE5B}"/>
              </a:ext>
            </a:extLst>
          </p:cNvPr>
          <p:cNvCxnSpPr/>
          <p:nvPr/>
        </p:nvCxnSpPr>
        <p:spPr>
          <a:xfrm>
            <a:off x="404812" y="4058358"/>
            <a:ext cx="55800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82">
            <a:extLst>
              <a:ext uri="{FF2B5EF4-FFF2-40B4-BE49-F238E27FC236}">
                <a16:creationId xmlns:a16="http://schemas.microsoft.com/office/drawing/2014/main" id="{07BD6514-0D02-82EB-ED3C-CD0D2C1649CC}"/>
              </a:ext>
            </a:extLst>
          </p:cNvPr>
          <p:cNvCxnSpPr/>
          <p:nvPr/>
        </p:nvCxnSpPr>
        <p:spPr>
          <a:xfrm>
            <a:off x="6200836" y="2977054"/>
            <a:ext cx="55800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83">
            <a:extLst>
              <a:ext uri="{FF2B5EF4-FFF2-40B4-BE49-F238E27FC236}">
                <a16:creationId xmlns:a16="http://schemas.microsoft.com/office/drawing/2014/main" id="{F0F642BE-CF68-E022-D964-35FA8653D400}"/>
              </a:ext>
            </a:extLst>
          </p:cNvPr>
          <p:cNvCxnSpPr/>
          <p:nvPr/>
        </p:nvCxnSpPr>
        <p:spPr>
          <a:xfrm>
            <a:off x="6200836" y="4058358"/>
            <a:ext cx="55800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1">
            <a:extLst>
              <a:ext uri="{FF2B5EF4-FFF2-40B4-BE49-F238E27FC236}">
                <a16:creationId xmlns:a16="http://schemas.microsoft.com/office/drawing/2014/main" id="{2FF5E6D2-9E77-702F-72CB-A4C476B9CA87}"/>
              </a:ext>
            </a:extLst>
          </p:cNvPr>
          <p:cNvCxnSpPr/>
          <p:nvPr/>
        </p:nvCxnSpPr>
        <p:spPr>
          <a:xfrm>
            <a:off x="404812" y="5072504"/>
            <a:ext cx="55800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83">
            <a:extLst>
              <a:ext uri="{FF2B5EF4-FFF2-40B4-BE49-F238E27FC236}">
                <a16:creationId xmlns:a16="http://schemas.microsoft.com/office/drawing/2014/main" id="{14EBE3E3-1C1D-722F-0950-3F26C46FF355}"/>
              </a:ext>
            </a:extLst>
          </p:cNvPr>
          <p:cNvCxnSpPr/>
          <p:nvPr/>
        </p:nvCxnSpPr>
        <p:spPr>
          <a:xfrm>
            <a:off x="6200836" y="5072504"/>
            <a:ext cx="55800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72559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>
            <p:custDataLst>
              <p:tags r:id="rId2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en-GB" sz="200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With a track record of 500+ projects, we regard cost </a:t>
            </a:r>
            <a:br>
              <a:rPr lang="en-GB"/>
            </a:br>
            <a:r>
              <a:rPr lang="en-GB"/>
              <a:t>reduction of indirect material our home turf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/>
              <a:t>References: Optimization of indirect material (excerpt)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7EEC923-2B8C-4A83-A0B4-02087C024B51}"/>
              </a:ext>
            </a:extLst>
          </p:cNvPr>
          <p:cNvGrpSpPr/>
          <p:nvPr/>
        </p:nvGrpSpPr>
        <p:grpSpPr>
          <a:xfrm>
            <a:off x="647030" y="3732267"/>
            <a:ext cx="11091313" cy="792000"/>
            <a:chOff x="647030" y="3792749"/>
            <a:chExt cx="11091313" cy="792000"/>
          </a:xfrm>
        </p:grpSpPr>
        <p:sp>
          <p:nvSpPr>
            <p:cNvPr id="33" name="Textplatzhalter 10">
              <a:extLst>
                <a:ext uri="{FF2B5EF4-FFF2-40B4-BE49-F238E27FC236}">
                  <a16:creationId xmlns:a16="http://schemas.microsoft.com/office/drawing/2014/main" id="{B3E0F348-2A41-4D1C-8B8F-82FBB23D7F64}"/>
                </a:ext>
              </a:extLst>
            </p:cNvPr>
            <p:cNvSpPr txBox="1">
              <a:spLocks/>
            </p:cNvSpPr>
            <p:nvPr/>
          </p:nvSpPr>
          <p:spPr>
            <a:xfrm>
              <a:off x="7598343" y="3792749"/>
              <a:ext cx="4140000" cy="79200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54000" tIns="36000" rIns="36000" bIns="36000" rtlCol="0" anchor="ctr" anchorCtr="0">
              <a:noAutofit/>
            </a:bodyPr>
            <a:lstStyle>
              <a:defPPr>
                <a:defRPr lang="de-DE"/>
              </a:defPPr>
              <a:lvl1pPr indent="0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SzPct val="115000"/>
                <a:buFont typeface="Arial" pitchFamily="34" charset="0"/>
                <a:buNone/>
                <a:defRPr sz="1200" b="0">
                  <a:cs typeface="Arial" pitchFamily="34" charset="0"/>
                </a:defRPr>
              </a:lvl1pPr>
              <a:lvl2pPr marL="187200" lvl="1" indent="-187200">
                <a:lnSpc>
                  <a:spcPct val="90000"/>
                </a:lnSpc>
                <a:spcBef>
                  <a:spcPts val="0"/>
                </a:spcBef>
                <a:buClr>
                  <a:srgbClr val="052E5A"/>
                </a:buClr>
                <a:buSzPct val="115000"/>
                <a:buFont typeface="Wingdings" panose="05000000000000000000" pitchFamily="2" charset="2"/>
                <a:buChar char="§"/>
                <a:defRPr sz="1100" b="0">
                  <a:solidFill>
                    <a:srgbClr val="000000"/>
                  </a:solidFill>
                  <a:cs typeface="Arial" pitchFamily="34" charset="0"/>
                </a:defRPr>
              </a:lvl2pPr>
              <a:lvl3pPr marL="374400" lvl="2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3pPr>
              <a:lvl4pPr marL="561600" lvl="3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4pPr>
              <a:lvl5pPr marL="748800" lvl="4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5pPr>
              <a:lvl6pPr marL="936000" lvl="5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6pPr>
              <a:lvl7pPr marL="1123200" lvl="6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7pPr>
              <a:lvl8pPr marL="1310400" lvl="7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8pPr>
              <a:lvl9pPr marL="1497600" lvl="8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9pPr>
            </a:lstStyle>
            <a:p>
              <a:pPr lvl="1">
                <a:spcBef>
                  <a:spcPts val="200"/>
                </a:spcBef>
                <a:buClr>
                  <a:schemeClr val="tx1"/>
                </a:buClr>
              </a:pPr>
              <a:r>
                <a:rPr lang="en-GB" sz="1000">
                  <a:solidFill>
                    <a:schemeClr val="tx1"/>
                  </a:solidFill>
                </a:rPr>
                <a:t>Various fast cost out programs in categories </a:t>
              </a:r>
              <a:br>
                <a:rPr lang="en-GB" sz="1000">
                  <a:solidFill>
                    <a:schemeClr val="tx1"/>
                  </a:solidFill>
                </a:rPr>
              </a:br>
              <a:r>
                <a:rPr lang="en-GB" sz="1000">
                  <a:solidFill>
                    <a:schemeClr val="tx1"/>
                  </a:solidFill>
                </a:rPr>
                <a:t>as warehousing, packaging, logistics, IT, PPE, FM, professional services</a:t>
              </a:r>
            </a:p>
            <a:p>
              <a:pPr lvl="1">
                <a:spcBef>
                  <a:spcPts val="200"/>
                </a:spcBef>
                <a:buClr>
                  <a:schemeClr val="tx1"/>
                </a:buClr>
              </a:pPr>
              <a:r>
                <a:rPr lang="en-GB" sz="1000">
                  <a:solidFill>
                    <a:schemeClr val="tx1"/>
                  </a:solidFill>
                </a:rPr>
                <a:t>Conduction of supplier days and tenders</a:t>
              </a:r>
            </a:p>
            <a:p>
              <a:pPr lvl="1">
                <a:spcBef>
                  <a:spcPts val="200"/>
                </a:spcBef>
                <a:buClr>
                  <a:schemeClr val="tx1"/>
                </a:buClr>
              </a:pPr>
              <a:r>
                <a:rPr lang="en-GB" sz="1000">
                  <a:solidFill>
                    <a:schemeClr val="tx1"/>
                  </a:solidFill>
                </a:rPr>
                <a:t>Realization of &gt;15% savings</a:t>
              </a:r>
            </a:p>
          </p:txBody>
        </p:sp>
        <p:pic>
          <p:nvPicPr>
            <p:cNvPr id="34" name="Picture 4" descr="http://www.triton-partners.com/images/logo.gif">
              <a:extLst>
                <a:ext uri="{FF2B5EF4-FFF2-40B4-BE49-F238E27FC236}">
                  <a16:creationId xmlns:a16="http://schemas.microsoft.com/office/drawing/2014/main" id="{CE7335A4-1C19-4011-B8B7-80D7CDC454A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0219" y="4020630"/>
              <a:ext cx="916249" cy="3362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3" name="Textplatzhalter 10">
              <a:extLst>
                <a:ext uri="{FF2B5EF4-FFF2-40B4-BE49-F238E27FC236}">
                  <a16:creationId xmlns:a16="http://schemas.microsoft.com/office/drawing/2014/main" id="{71EE8E54-C7B7-49CE-A66C-F06C908A13E0}"/>
                </a:ext>
              </a:extLst>
            </p:cNvPr>
            <p:cNvSpPr txBox="1">
              <a:spLocks/>
            </p:cNvSpPr>
            <p:nvPr/>
          </p:nvSpPr>
          <p:spPr>
            <a:xfrm>
              <a:off x="1851186" y="3792749"/>
              <a:ext cx="4140000" cy="79200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54000" tIns="36000" rIns="36000" bIns="36000" rtlCol="0" anchor="ctr" anchorCtr="0">
              <a:noAutofit/>
            </a:bodyPr>
            <a:lstStyle>
              <a:defPPr>
                <a:defRPr lang="de-DE"/>
              </a:defPPr>
              <a:lvl1pPr marL="171450" indent="-171450">
                <a:lnSpc>
                  <a:spcPct val="100000"/>
                </a:lnSpc>
                <a:spcBef>
                  <a:spcPts val="500"/>
                </a:spcBef>
                <a:buClr>
                  <a:srgbClr val="052E5A"/>
                </a:buClr>
                <a:buSzPct val="115000"/>
                <a:buFont typeface="Wingdings" pitchFamily="2" charset="2"/>
                <a:buChar char="§"/>
                <a:defRPr sz="1100" b="0">
                  <a:cs typeface="Arial" pitchFamily="34" charset="0"/>
                </a:defRPr>
              </a:lvl1pPr>
              <a:lvl2pPr marL="144463" lvl="1" indent="-144463" defTabSz="762000" fontAlgn="base">
                <a:lnSpc>
                  <a:spcPct val="95000"/>
                </a:lnSpc>
                <a:spcBef>
                  <a:spcPts val="100"/>
                </a:spcBef>
                <a:buClr>
                  <a:schemeClr val="tx2"/>
                </a:buClr>
                <a:buSzPct val="115000"/>
                <a:buFont typeface="Wingdings" pitchFamily="2" charset="2"/>
                <a:buChar char=""/>
                <a:defRPr sz="1000" b="0">
                  <a:solidFill>
                    <a:schemeClr val="dk1"/>
                  </a:solidFill>
                  <a:cs typeface="Arial" pitchFamily="34" charset="0"/>
                </a:defRPr>
              </a:lvl2pPr>
              <a:lvl3pPr marL="374400" lvl="2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3pPr>
              <a:lvl4pPr marL="561600" lvl="3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4pPr>
              <a:lvl5pPr marL="748800" lvl="4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5pPr>
              <a:lvl6pPr marL="936000" lvl="5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6pPr>
              <a:lvl7pPr marL="1123200" lvl="6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7pPr>
              <a:lvl8pPr marL="1310400" lvl="7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8pPr>
              <a:lvl9pPr marL="1497600" lvl="8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9pPr>
            </a:lstStyle>
            <a:p>
              <a:pPr lvl="1">
                <a:spcBef>
                  <a:spcPts val="2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GB">
                  <a:solidFill>
                    <a:schemeClr val="tx1"/>
                  </a:solidFill>
                </a:rPr>
                <a:t>Optimization of various indirect categories</a:t>
              </a:r>
            </a:p>
            <a:p>
              <a:pPr lvl="1">
                <a:spcBef>
                  <a:spcPts val="2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GB">
                  <a:solidFill>
                    <a:schemeClr val="tx1"/>
                  </a:solidFill>
                </a:rPr>
                <a:t>In-depth contract analysis and benchmarking</a:t>
              </a:r>
              <a:br>
                <a:rPr lang="en-GB">
                  <a:solidFill>
                    <a:schemeClr val="tx1"/>
                  </a:solidFill>
                </a:rPr>
              </a:br>
              <a:r>
                <a:rPr lang="en-GB">
                  <a:solidFill>
                    <a:schemeClr val="tx1"/>
                  </a:solidFill>
                </a:rPr>
                <a:t>of terms and conditions</a:t>
              </a:r>
            </a:p>
            <a:p>
              <a:pPr lvl="1">
                <a:spcBef>
                  <a:spcPts val="2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GB">
                  <a:solidFill>
                    <a:schemeClr val="tx1"/>
                  </a:solidFill>
                </a:rPr>
                <a:t>Selective renegotiations and tendering</a:t>
              </a:r>
            </a:p>
            <a:p>
              <a:pPr lvl="1">
                <a:spcBef>
                  <a:spcPts val="2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GB">
                  <a:solidFill>
                    <a:schemeClr val="tx1"/>
                  </a:solidFill>
                </a:rPr>
                <a:t>Identification of savings potentials</a:t>
              </a:r>
            </a:p>
          </p:txBody>
        </p:sp>
        <p:pic>
          <p:nvPicPr>
            <p:cNvPr id="63" name="Bild 8">
              <a:extLst>
                <a:ext uri="{FF2B5EF4-FFF2-40B4-BE49-F238E27FC236}">
                  <a16:creationId xmlns:a16="http://schemas.microsoft.com/office/drawing/2014/main" id="{17C27ED8-C90E-4330-8AB0-51D95731127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7030" y="4030142"/>
              <a:ext cx="968313" cy="317214"/>
            </a:xfrm>
            <a:prstGeom prst="rect">
              <a:avLst/>
            </a:prstGeom>
          </p:spPr>
        </p:pic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2298C8BF-CE4E-19C1-1A61-A6A7D51F661F}"/>
              </a:ext>
            </a:extLst>
          </p:cNvPr>
          <p:cNvGrpSpPr/>
          <p:nvPr/>
        </p:nvGrpSpPr>
        <p:grpSpPr>
          <a:xfrm>
            <a:off x="747489" y="1972083"/>
            <a:ext cx="10990854" cy="792000"/>
            <a:chOff x="747489" y="1972083"/>
            <a:chExt cx="10990854" cy="792000"/>
          </a:xfrm>
        </p:grpSpPr>
        <p:sp>
          <p:nvSpPr>
            <p:cNvPr id="57" name="Textplatzhalter 10">
              <a:extLst>
                <a:ext uri="{FF2B5EF4-FFF2-40B4-BE49-F238E27FC236}">
                  <a16:creationId xmlns:a16="http://schemas.microsoft.com/office/drawing/2014/main" id="{E64ABDAA-7E34-4FEB-95AB-3CD51172E698}"/>
                </a:ext>
              </a:extLst>
            </p:cNvPr>
            <p:cNvSpPr txBox="1">
              <a:spLocks/>
            </p:cNvSpPr>
            <p:nvPr/>
          </p:nvSpPr>
          <p:spPr>
            <a:xfrm>
              <a:off x="1851186" y="1972083"/>
              <a:ext cx="4140000" cy="79200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54000" tIns="36000" rIns="36000" bIns="36000" rtlCol="0" anchor="ctr" anchorCtr="0">
              <a:noAutofit/>
            </a:bodyPr>
            <a:lstStyle>
              <a:defPPr>
                <a:defRPr lang="de-DE"/>
              </a:defPPr>
              <a:lvl1pPr indent="0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SzPct val="115000"/>
                <a:buFont typeface="Arial" pitchFamily="34" charset="0"/>
                <a:buNone/>
                <a:defRPr sz="1200" b="0">
                  <a:cs typeface="Arial" pitchFamily="34" charset="0"/>
                </a:defRPr>
              </a:lvl1pPr>
              <a:lvl2pPr marL="187200" lvl="1" indent="-187200">
                <a:lnSpc>
                  <a:spcPct val="90000"/>
                </a:lnSpc>
                <a:spcBef>
                  <a:spcPts val="0"/>
                </a:spcBef>
                <a:buClr>
                  <a:srgbClr val="052E5A"/>
                </a:buClr>
                <a:buSzPct val="115000"/>
                <a:buFont typeface="Wingdings" panose="05000000000000000000" pitchFamily="2" charset="2"/>
                <a:buChar char="§"/>
                <a:defRPr sz="1100" b="0">
                  <a:solidFill>
                    <a:srgbClr val="000000"/>
                  </a:solidFill>
                  <a:cs typeface="Arial" pitchFamily="34" charset="0"/>
                </a:defRPr>
              </a:lvl2pPr>
              <a:lvl3pPr marL="374400" lvl="2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3pPr>
              <a:lvl4pPr marL="561600" lvl="3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4pPr>
              <a:lvl5pPr marL="748800" lvl="4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5pPr>
              <a:lvl6pPr marL="936000" lvl="5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6pPr>
              <a:lvl7pPr marL="1123200" lvl="6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7pPr>
              <a:lvl8pPr marL="1310400" lvl="7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8pPr>
              <a:lvl9pPr marL="1497600" lvl="8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9pPr>
            </a:lstStyle>
            <a:p>
              <a:pPr lvl="1">
                <a:spcBef>
                  <a:spcPts val="200"/>
                </a:spcBef>
                <a:buClr>
                  <a:schemeClr val="tx1"/>
                </a:buClr>
              </a:pPr>
              <a:r>
                <a:rPr lang="en-GB" sz="1000">
                  <a:solidFill>
                    <a:schemeClr val="tx1"/>
                  </a:solidFill>
                </a:rPr>
                <a:t>Value Creation Plan </a:t>
              </a:r>
              <a:r>
                <a:rPr lang="en-GB" sz="1000" err="1">
                  <a:solidFill>
                    <a:schemeClr val="tx1"/>
                  </a:solidFill>
                </a:rPr>
                <a:t>Indirects</a:t>
              </a:r>
              <a:r>
                <a:rPr lang="en-GB" sz="1000">
                  <a:solidFill>
                    <a:schemeClr val="tx1"/>
                  </a:solidFill>
                </a:rPr>
                <a:t> and MRO</a:t>
              </a:r>
            </a:p>
            <a:p>
              <a:pPr lvl="1">
                <a:spcBef>
                  <a:spcPts val="200"/>
                </a:spcBef>
                <a:buClr>
                  <a:schemeClr val="tx1"/>
                </a:buClr>
              </a:pPr>
              <a:r>
                <a:rPr lang="en-GB" sz="1000">
                  <a:solidFill>
                    <a:schemeClr val="tx1"/>
                  </a:solidFill>
                </a:rPr>
                <a:t>10% savings identified &amp; in implementation</a:t>
              </a:r>
            </a:p>
            <a:p>
              <a:pPr lvl="1">
                <a:spcBef>
                  <a:spcPts val="200"/>
                </a:spcBef>
                <a:buClr>
                  <a:schemeClr val="tx1"/>
                </a:buClr>
              </a:pPr>
              <a:r>
                <a:rPr lang="en-GB" sz="1000">
                  <a:solidFill>
                    <a:schemeClr val="tx1"/>
                  </a:solidFill>
                </a:rPr>
                <a:t>Successful virtual supplier day with 5% P&amp;L </a:t>
              </a:r>
              <a:br>
                <a:rPr lang="en-GB" sz="1000">
                  <a:solidFill>
                    <a:schemeClr val="tx1"/>
                  </a:solidFill>
                </a:rPr>
              </a:br>
              <a:r>
                <a:rPr lang="en-GB" sz="1000">
                  <a:solidFill>
                    <a:schemeClr val="tx1"/>
                  </a:solidFill>
                </a:rPr>
                <a:t>effective savings</a:t>
              </a:r>
            </a:p>
            <a:p>
              <a:pPr lvl="1">
                <a:spcBef>
                  <a:spcPts val="200"/>
                </a:spcBef>
                <a:buClr>
                  <a:schemeClr val="tx1"/>
                </a:buClr>
              </a:pPr>
              <a:r>
                <a:rPr lang="en-GB" sz="1000">
                  <a:solidFill>
                    <a:schemeClr val="tx1"/>
                  </a:solidFill>
                </a:rPr>
                <a:t>Negotiation training by h&amp;z Academy</a:t>
              </a:r>
            </a:p>
          </p:txBody>
        </p:sp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1B515FE8-9CEE-427B-966F-CD378A6568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489" y="2063282"/>
              <a:ext cx="936540" cy="609603"/>
            </a:xfrm>
            <a:prstGeom prst="rect">
              <a:avLst/>
            </a:prstGeom>
          </p:spPr>
        </p:pic>
        <p:pic>
          <p:nvPicPr>
            <p:cNvPr id="67" name="Grafik 66">
              <a:extLst>
                <a:ext uri="{FF2B5EF4-FFF2-40B4-BE49-F238E27FC236}">
                  <a16:creationId xmlns:a16="http://schemas.microsoft.com/office/drawing/2014/main" id="{EF59B82B-8643-4120-A247-20AB246C13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78483" y="2160331"/>
              <a:ext cx="999720" cy="415505"/>
            </a:xfrm>
            <a:prstGeom prst="rect">
              <a:avLst/>
            </a:prstGeom>
          </p:spPr>
        </p:pic>
        <p:sp>
          <p:nvSpPr>
            <p:cNvPr id="47" name="Textplatzhalter 10">
              <a:extLst>
                <a:ext uri="{FF2B5EF4-FFF2-40B4-BE49-F238E27FC236}">
                  <a16:creationId xmlns:a16="http://schemas.microsoft.com/office/drawing/2014/main" id="{35974E87-B27C-4040-8CED-1C9F6EE7C017}"/>
                </a:ext>
              </a:extLst>
            </p:cNvPr>
            <p:cNvSpPr txBox="1">
              <a:spLocks/>
            </p:cNvSpPr>
            <p:nvPr/>
          </p:nvSpPr>
          <p:spPr>
            <a:xfrm>
              <a:off x="7598343" y="1972083"/>
              <a:ext cx="4140000" cy="79200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54000" tIns="36000" rIns="36000" bIns="36000" rtlCol="0" anchor="ctr" anchorCtr="0">
              <a:noAutofit/>
            </a:bodyPr>
            <a:lstStyle>
              <a:defPPr>
                <a:defRPr lang="de-DE"/>
              </a:defPPr>
              <a:lvl1pPr indent="0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SzPct val="115000"/>
                <a:buFont typeface="Arial" pitchFamily="34" charset="0"/>
                <a:buNone/>
                <a:defRPr sz="1200" b="0">
                  <a:cs typeface="Arial" pitchFamily="34" charset="0"/>
                </a:defRPr>
              </a:lvl1pPr>
              <a:lvl2pPr marL="187200" lvl="1" indent="-187200">
                <a:lnSpc>
                  <a:spcPct val="90000"/>
                </a:lnSpc>
                <a:spcBef>
                  <a:spcPts val="0"/>
                </a:spcBef>
                <a:buClr>
                  <a:srgbClr val="052E5A"/>
                </a:buClr>
                <a:buSzPct val="115000"/>
                <a:buFont typeface="Wingdings" panose="05000000000000000000" pitchFamily="2" charset="2"/>
                <a:buChar char="§"/>
                <a:defRPr sz="1100" b="0">
                  <a:solidFill>
                    <a:srgbClr val="000000"/>
                  </a:solidFill>
                  <a:cs typeface="Arial" pitchFamily="34" charset="0"/>
                </a:defRPr>
              </a:lvl2pPr>
              <a:lvl3pPr marL="374400" lvl="2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3pPr>
              <a:lvl4pPr marL="561600" lvl="3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4pPr>
              <a:lvl5pPr marL="748800" lvl="4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5pPr>
              <a:lvl6pPr marL="936000" lvl="5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6pPr>
              <a:lvl7pPr marL="1123200" lvl="6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7pPr>
              <a:lvl8pPr marL="1310400" lvl="7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8pPr>
              <a:lvl9pPr marL="1497600" lvl="8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9pPr>
            </a:lstStyle>
            <a:p>
              <a:pPr lvl="1">
                <a:spcBef>
                  <a:spcPts val="200"/>
                </a:spcBef>
                <a:buClr>
                  <a:schemeClr val="tx1"/>
                </a:buClr>
              </a:pPr>
              <a:r>
                <a:rPr lang="en-GB" sz="1000">
                  <a:solidFill>
                    <a:schemeClr val="tx1"/>
                  </a:solidFill>
                </a:rPr>
                <a:t>Post Deal value creation for portfolio company </a:t>
              </a:r>
            </a:p>
            <a:p>
              <a:pPr lvl="1">
                <a:spcBef>
                  <a:spcPts val="200"/>
                </a:spcBef>
                <a:buClr>
                  <a:schemeClr val="tx1"/>
                </a:buClr>
              </a:pPr>
              <a:r>
                <a:rPr lang="en-GB" sz="1000">
                  <a:solidFill>
                    <a:schemeClr val="tx1"/>
                  </a:solidFill>
                </a:rPr>
                <a:t>Procurement Cost out program in indirect materials</a:t>
              </a:r>
            </a:p>
            <a:p>
              <a:pPr lvl="1">
                <a:spcBef>
                  <a:spcPts val="200"/>
                </a:spcBef>
                <a:buClr>
                  <a:schemeClr val="tx1"/>
                </a:buClr>
              </a:pPr>
              <a:r>
                <a:rPr lang="en-GB" sz="1000">
                  <a:solidFill>
                    <a:schemeClr val="tx1"/>
                  </a:solidFill>
                </a:rPr>
                <a:t>Quick wins savings realization </a:t>
              </a:r>
            </a:p>
            <a:p>
              <a:pPr lvl="1">
                <a:spcBef>
                  <a:spcPts val="200"/>
                </a:spcBef>
                <a:buClr>
                  <a:schemeClr val="tx1"/>
                </a:buClr>
              </a:pPr>
              <a:r>
                <a:rPr lang="en-GB" sz="1000">
                  <a:solidFill>
                    <a:schemeClr val="tx1"/>
                  </a:solidFill>
                </a:rPr>
                <a:t>Identification of savings potentials, detailing and quantification of measures, negotiation trainings</a:t>
              </a: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F7A2DADD-DA4D-645E-9C1A-09F28FFB2F51}"/>
              </a:ext>
            </a:extLst>
          </p:cNvPr>
          <p:cNvGrpSpPr/>
          <p:nvPr/>
        </p:nvGrpSpPr>
        <p:grpSpPr>
          <a:xfrm>
            <a:off x="912514" y="2852175"/>
            <a:ext cx="10825829" cy="792000"/>
            <a:chOff x="912514" y="2882416"/>
            <a:chExt cx="10825829" cy="792000"/>
          </a:xfrm>
        </p:grpSpPr>
        <p:sp>
          <p:nvSpPr>
            <p:cNvPr id="91" name="Textplatzhalter 10">
              <a:extLst>
                <a:ext uri="{FF2B5EF4-FFF2-40B4-BE49-F238E27FC236}">
                  <a16:creationId xmlns:a16="http://schemas.microsoft.com/office/drawing/2014/main" id="{38D0064A-D45F-4662-ACE8-EC7ED2E4B764}"/>
                </a:ext>
              </a:extLst>
            </p:cNvPr>
            <p:cNvSpPr txBox="1">
              <a:spLocks/>
            </p:cNvSpPr>
            <p:nvPr/>
          </p:nvSpPr>
          <p:spPr>
            <a:xfrm>
              <a:off x="7598343" y="2882416"/>
              <a:ext cx="4140000" cy="79200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54000" tIns="36000" rIns="0" bIns="36000" rtlCol="0" anchor="ctr" anchorCtr="0">
              <a:noAutofit/>
            </a:bodyPr>
            <a:lstStyle>
              <a:defPPr>
                <a:defRPr lang="en-US"/>
              </a:defPPr>
              <a:lvl1pPr indent="0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SzPct val="115000"/>
                <a:buFont typeface="Arial" pitchFamily="34" charset="0"/>
                <a:buNone/>
                <a:defRPr sz="1200" b="0">
                  <a:cs typeface="Arial" pitchFamily="34" charset="0"/>
                </a:defRPr>
              </a:lvl1pPr>
              <a:lvl2pPr marL="187200" lvl="1" indent="-187200">
                <a:lnSpc>
                  <a:spcPct val="90000"/>
                </a:lnSpc>
                <a:spcBef>
                  <a:spcPts val="300"/>
                </a:spcBef>
                <a:buClr>
                  <a:srgbClr val="052E5A"/>
                </a:buClr>
                <a:buSzPct val="115000"/>
                <a:buFont typeface="Wingdings" panose="05000000000000000000" pitchFamily="2" charset="2"/>
                <a:buChar char="§"/>
                <a:defRPr sz="1000" b="0">
                  <a:solidFill>
                    <a:srgbClr val="000000"/>
                  </a:solidFill>
                  <a:cs typeface="Arial" pitchFamily="34" charset="0"/>
                </a:defRPr>
              </a:lvl2pPr>
              <a:lvl3pPr marL="374400" lvl="2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3pPr>
              <a:lvl4pPr marL="561600" lvl="3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4pPr>
              <a:lvl5pPr marL="748800" lvl="4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5pPr>
              <a:lvl6pPr marL="936000" lvl="5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6pPr>
              <a:lvl7pPr marL="1123200" lvl="6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7pPr>
              <a:lvl8pPr marL="1310400" lvl="7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8pPr>
              <a:lvl9pPr marL="1497600" lvl="8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9pPr>
            </a:lstStyle>
            <a:p>
              <a:pPr lvl="1">
                <a:spcBef>
                  <a:spcPts val="200"/>
                </a:spcBef>
                <a:buClr>
                  <a:schemeClr val="tx1"/>
                </a:buClr>
              </a:pPr>
              <a:r>
                <a:rPr lang="en-GB">
                  <a:solidFill>
                    <a:schemeClr val="tx1"/>
                  </a:solidFill>
                </a:rPr>
                <a:t>Full Potential Plan &amp; implementation for direct and indirect material - supplier days with 5% P&amp;L savings</a:t>
              </a:r>
            </a:p>
            <a:p>
              <a:pPr lvl="1">
                <a:spcBef>
                  <a:spcPts val="200"/>
                </a:spcBef>
                <a:buClr>
                  <a:schemeClr val="tx1"/>
                </a:buClr>
              </a:pPr>
              <a:r>
                <a:rPr lang="en-GB">
                  <a:solidFill>
                    <a:schemeClr val="tx1"/>
                  </a:solidFill>
                </a:rPr>
                <a:t>Organizational transformation incl. boost of cross-functional collaboration and skill development</a:t>
              </a:r>
            </a:p>
          </p:txBody>
        </p:sp>
        <p:sp>
          <p:nvSpPr>
            <p:cNvPr id="50" name="Textplatzhalter 10">
              <a:extLst>
                <a:ext uri="{FF2B5EF4-FFF2-40B4-BE49-F238E27FC236}">
                  <a16:creationId xmlns:a16="http://schemas.microsoft.com/office/drawing/2014/main" id="{6FB5AF19-91F1-4E93-A756-96F59E178244}"/>
                </a:ext>
              </a:extLst>
            </p:cNvPr>
            <p:cNvSpPr txBox="1">
              <a:spLocks/>
            </p:cNvSpPr>
            <p:nvPr/>
          </p:nvSpPr>
          <p:spPr>
            <a:xfrm>
              <a:off x="1851186" y="2882416"/>
              <a:ext cx="4140000" cy="79200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54000" tIns="36000" rIns="36000" bIns="36000" rtlCol="0" anchor="ctr" anchorCtr="0">
              <a:noAutofit/>
            </a:bodyPr>
            <a:lstStyle>
              <a:defPPr>
                <a:defRPr lang="de-DE"/>
              </a:defPPr>
              <a:lvl1pPr marL="171450" indent="-171450">
                <a:lnSpc>
                  <a:spcPct val="100000"/>
                </a:lnSpc>
                <a:spcBef>
                  <a:spcPts val="500"/>
                </a:spcBef>
                <a:buClr>
                  <a:srgbClr val="052E5A"/>
                </a:buClr>
                <a:buSzPct val="115000"/>
                <a:buFont typeface="Wingdings" pitchFamily="2" charset="2"/>
                <a:buChar char="§"/>
                <a:defRPr sz="1100" b="0">
                  <a:cs typeface="Arial" pitchFamily="34" charset="0"/>
                </a:defRPr>
              </a:lvl1pPr>
              <a:lvl2pPr marL="144463" lvl="1" indent="-144463" defTabSz="762000" fontAlgn="base">
                <a:lnSpc>
                  <a:spcPct val="95000"/>
                </a:lnSpc>
                <a:spcBef>
                  <a:spcPts val="100"/>
                </a:spcBef>
                <a:buClr>
                  <a:schemeClr val="tx2"/>
                </a:buClr>
                <a:buSzPct val="115000"/>
                <a:buFont typeface="Wingdings" pitchFamily="2" charset="2"/>
                <a:buChar char=""/>
                <a:defRPr sz="1000" b="0">
                  <a:solidFill>
                    <a:schemeClr val="dk1"/>
                  </a:solidFill>
                  <a:cs typeface="Arial" pitchFamily="34" charset="0"/>
                </a:defRPr>
              </a:lvl2pPr>
              <a:lvl3pPr marL="374400" lvl="2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3pPr>
              <a:lvl4pPr marL="561600" lvl="3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4pPr>
              <a:lvl5pPr marL="748800" lvl="4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5pPr>
              <a:lvl6pPr marL="936000" lvl="5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6pPr>
              <a:lvl7pPr marL="1123200" lvl="6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7pPr>
              <a:lvl8pPr marL="1310400" lvl="7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8pPr>
              <a:lvl9pPr marL="1497600" lvl="8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9pPr>
            </a:lstStyle>
            <a:p>
              <a:pPr lvl="1">
                <a:spcBef>
                  <a:spcPts val="2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GB">
                  <a:solidFill>
                    <a:schemeClr val="tx1"/>
                  </a:solidFill>
                </a:rPr>
                <a:t>Indirect spend optimization</a:t>
              </a:r>
            </a:p>
            <a:p>
              <a:pPr lvl="1">
                <a:spcBef>
                  <a:spcPts val="2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GB">
                  <a:solidFill>
                    <a:schemeClr val="tx1"/>
                  </a:solidFill>
                </a:rPr>
                <a:t>Definition and quantification of savings measures</a:t>
              </a:r>
            </a:p>
            <a:p>
              <a:pPr lvl="1">
                <a:spcBef>
                  <a:spcPts val="2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GB">
                  <a:solidFill>
                    <a:schemeClr val="tx1"/>
                  </a:solidFill>
                </a:rPr>
                <a:t>Conduction of tenders &amp; supplier consolidation</a:t>
              </a:r>
            </a:p>
            <a:p>
              <a:pPr lvl="1">
                <a:spcBef>
                  <a:spcPts val="2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GB">
                  <a:solidFill>
                    <a:schemeClr val="tx1"/>
                  </a:solidFill>
                </a:rPr>
                <a:t>Set up of structural enablers</a:t>
              </a:r>
            </a:p>
          </p:txBody>
        </p:sp>
        <p:pic>
          <p:nvPicPr>
            <p:cNvPr id="65" name="Picture 3" descr="Y:\Husqvarna_122\J-1602_N_Nov-11_Mall_CS\jpg\logotype-husqvarna.GIF">
              <a:extLst>
                <a:ext uri="{FF2B5EF4-FFF2-40B4-BE49-F238E27FC236}">
                  <a16:creationId xmlns:a16="http://schemas.microsoft.com/office/drawing/2014/main" id="{C581EBF8-A694-4337-8F8E-B693ECD742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2514" y="3011563"/>
              <a:ext cx="437344" cy="5337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EB9A5263-4CF5-43A1-B706-3B806D172F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85931" y="3128134"/>
              <a:ext cx="984825" cy="300564"/>
            </a:xfrm>
            <a:prstGeom prst="rect">
              <a:avLst/>
            </a:prstGeom>
          </p:spPr>
        </p:pic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1D62BAA-E763-6D6B-40EE-E2E55951C582}"/>
              </a:ext>
            </a:extLst>
          </p:cNvPr>
          <p:cNvGrpSpPr/>
          <p:nvPr/>
        </p:nvGrpSpPr>
        <p:grpSpPr>
          <a:xfrm>
            <a:off x="713248" y="5492452"/>
            <a:ext cx="11025095" cy="792000"/>
            <a:chOff x="713248" y="5613416"/>
            <a:chExt cx="11025095" cy="792000"/>
          </a:xfrm>
        </p:grpSpPr>
        <p:sp>
          <p:nvSpPr>
            <p:cNvPr id="75" name="Textplatzhalter 10">
              <a:extLst>
                <a:ext uri="{FF2B5EF4-FFF2-40B4-BE49-F238E27FC236}">
                  <a16:creationId xmlns:a16="http://schemas.microsoft.com/office/drawing/2014/main" id="{E341EC70-A56A-4D7A-909E-3E7E27C56C18}"/>
                </a:ext>
              </a:extLst>
            </p:cNvPr>
            <p:cNvSpPr txBox="1">
              <a:spLocks/>
            </p:cNvSpPr>
            <p:nvPr/>
          </p:nvSpPr>
          <p:spPr>
            <a:xfrm>
              <a:off x="7598343" y="5613416"/>
              <a:ext cx="4140000" cy="79200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54000" tIns="36000" rIns="36000" bIns="36000" rtlCol="0" anchor="ctr" anchorCtr="0">
              <a:noAutofit/>
            </a:bodyPr>
            <a:lstStyle>
              <a:defPPr>
                <a:defRPr lang="de-DE"/>
              </a:defPPr>
              <a:lvl1pPr marL="171450" indent="-171450">
                <a:lnSpc>
                  <a:spcPct val="100000"/>
                </a:lnSpc>
                <a:spcBef>
                  <a:spcPts val="500"/>
                </a:spcBef>
                <a:buClr>
                  <a:srgbClr val="052E5A"/>
                </a:buClr>
                <a:buSzPct val="115000"/>
                <a:buFont typeface="Wingdings" pitchFamily="2" charset="2"/>
                <a:buChar char="§"/>
                <a:defRPr sz="1100" b="0">
                  <a:cs typeface="Arial" pitchFamily="34" charset="0"/>
                </a:defRPr>
              </a:lvl1pPr>
              <a:lvl2pPr marL="144463" lvl="1" indent="-144463" defTabSz="762000" fontAlgn="base">
                <a:lnSpc>
                  <a:spcPct val="95000"/>
                </a:lnSpc>
                <a:spcBef>
                  <a:spcPts val="100"/>
                </a:spcBef>
                <a:buClr>
                  <a:schemeClr val="tx2"/>
                </a:buClr>
                <a:buSzPct val="115000"/>
                <a:buFont typeface="Wingdings" pitchFamily="2" charset="2"/>
                <a:buChar char=""/>
                <a:defRPr sz="1000" b="0">
                  <a:solidFill>
                    <a:schemeClr val="dk1"/>
                  </a:solidFill>
                  <a:cs typeface="Arial" pitchFamily="34" charset="0"/>
                </a:defRPr>
              </a:lvl2pPr>
              <a:lvl3pPr marL="374400" lvl="2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3pPr>
              <a:lvl4pPr marL="561600" lvl="3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4pPr>
              <a:lvl5pPr marL="748800" lvl="4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5pPr>
              <a:lvl6pPr marL="936000" lvl="5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6pPr>
              <a:lvl7pPr marL="1123200" lvl="6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7pPr>
              <a:lvl8pPr marL="1310400" lvl="7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8pPr>
              <a:lvl9pPr marL="1497600" lvl="8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9pPr>
            </a:lstStyle>
            <a:p>
              <a:pPr lvl="1" defTabSz="914400">
                <a:lnSpc>
                  <a:spcPct val="90000"/>
                </a:lnSpc>
                <a:spcBef>
                  <a:spcPts val="2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GB">
                  <a:solidFill>
                    <a:schemeClr val="tx1"/>
                  </a:solidFill>
                </a:rPr>
                <a:t>Identification of savings potentials (direct &amp; indirect)</a:t>
              </a:r>
            </a:p>
            <a:p>
              <a:pPr lvl="1" defTabSz="914400">
                <a:lnSpc>
                  <a:spcPct val="90000"/>
                </a:lnSpc>
                <a:spcBef>
                  <a:spcPts val="2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GB">
                  <a:solidFill>
                    <a:schemeClr val="tx1"/>
                  </a:solidFill>
                </a:rPr>
                <a:t>Definition of a value creation &amp; realization plan</a:t>
              </a:r>
            </a:p>
            <a:p>
              <a:pPr lvl="1" defTabSz="914400">
                <a:lnSpc>
                  <a:spcPct val="90000"/>
                </a:lnSpc>
                <a:spcBef>
                  <a:spcPts val="2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GB">
                  <a:solidFill>
                    <a:schemeClr val="tx1"/>
                  </a:solidFill>
                </a:rPr>
                <a:t>Organizational transformation incl. processes </a:t>
              </a:r>
              <a:br>
                <a:rPr lang="en-GB">
                  <a:solidFill>
                    <a:schemeClr val="tx1"/>
                  </a:solidFill>
                </a:rPr>
              </a:br>
              <a:r>
                <a:rPr lang="en-GB">
                  <a:solidFill>
                    <a:schemeClr val="tx1"/>
                  </a:solidFill>
                </a:rPr>
                <a:t>and organizational structure</a:t>
              </a:r>
            </a:p>
          </p:txBody>
        </p:sp>
        <p:pic>
          <p:nvPicPr>
            <p:cNvPr id="72" name="Picture 5">
              <a:extLst>
                <a:ext uri="{FF2B5EF4-FFF2-40B4-BE49-F238E27FC236}">
                  <a16:creationId xmlns:a16="http://schemas.microsoft.com/office/drawing/2014/main" id="{8395283B-7C92-48AE-A6A1-B1A486C6B93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2363" y="5705785"/>
              <a:ext cx="1291960" cy="6072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8" name="Textplatzhalter 10">
              <a:extLst>
                <a:ext uri="{FF2B5EF4-FFF2-40B4-BE49-F238E27FC236}">
                  <a16:creationId xmlns:a16="http://schemas.microsoft.com/office/drawing/2014/main" id="{52DADBED-F240-4C8B-8A5E-850698F940AB}"/>
                </a:ext>
              </a:extLst>
            </p:cNvPr>
            <p:cNvSpPr txBox="1">
              <a:spLocks/>
            </p:cNvSpPr>
            <p:nvPr/>
          </p:nvSpPr>
          <p:spPr>
            <a:xfrm>
              <a:off x="1851186" y="5613416"/>
              <a:ext cx="4140000" cy="79200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54000" tIns="36000" rIns="36000" bIns="36000" rtlCol="0" anchor="ctr" anchorCtr="0">
              <a:noAutofit/>
            </a:bodyPr>
            <a:lstStyle>
              <a:defPPr>
                <a:defRPr lang="de-DE"/>
              </a:defPPr>
              <a:lvl1pPr marL="171450" indent="-171450">
                <a:lnSpc>
                  <a:spcPct val="100000"/>
                </a:lnSpc>
                <a:spcBef>
                  <a:spcPts val="500"/>
                </a:spcBef>
                <a:buClr>
                  <a:srgbClr val="052E5A"/>
                </a:buClr>
                <a:buSzPct val="115000"/>
                <a:buFont typeface="Wingdings" pitchFamily="2" charset="2"/>
                <a:buChar char="§"/>
                <a:defRPr sz="1100" b="0">
                  <a:cs typeface="Arial" pitchFamily="34" charset="0"/>
                </a:defRPr>
              </a:lvl1pPr>
              <a:lvl2pPr marL="144463" lvl="1" indent="-144463" defTabSz="762000" fontAlgn="base">
                <a:lnSpc>
                  <a:spcPct val="95000"/>
                </a:lnSpc>
                <a:spcBef>
                  <a:spcPts val="100"/>
                </a:spcBef>
                <a:buClr>
                  <a:schemeClr val="tx2"/>
                </a:buClr>
                <a:buSzPct val="115000"/>
                <a:buFont typeface="Wingdings" pitchFamily="2" charset="2"/>
                <a:buChar char=""/>
                <a:defRPr sz="1000" b="0">
                  <a:solidFill>
                    <a:schemeClr val="dk1"/>
                  </a:solidFill>
                  <a:cs typeface="Arial" pitchFamily="34" charset="0"/>
                </a:defRPr>
              </a:lvl2pPr>
              <a:lvl3pPr marL="374400" lvl="2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3pPr>
              <a:lvl4pPr marL="561600" lvl="3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4pPr>
              <a:lvl5pPr marL="748800" lvl="4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5pPr>
              <a:lvl6pPr marL="936000" lvl="5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6pPr>
              <a:lvl7pPr marL="1123200" lvl="6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7pPr>
              <a:lvl8pPr marL="1310400" lvl="7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8pPr>
              <a:lvl9pPr marL="1497600" lvl="8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9pPr>
            </a:lstStyle>
            <a:p>
              <a:pPr lvl="1">
                <a:spcBef>
                  <a:spcPts val="2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GB" dirty="0">
                  <a:solidFill>
                    <a:schemeClr val="tx1"/>
                  </a:solidFill>
                </a:rPr>
                <a:t>New joint models for indirect &amp; direct procurement</a:t>
              </a:r>
            </a:p>
            <a:p>
              <a:pPr lvl="1">
                <a:spcBef>
                  <a:spcPts val="2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GB" dirty="0">
                  <a:solidFill>
                    <a:schemeClr val="tx1"/>
                  </a:solidFill>
                </a:rPr>
                <a:t>Optimization of field procurement (Building Tech.)</a:t>
              </a:r>
            </a:p>
            <a:p>
              <a:pPr lvl="1">
                <a:spcBef>
                  <a:spcPts val="2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GB" dirty="0">
                  <a:solidFill>
                    <a:schemeClr val="tx1"/>
                  </a:solidFill>
                </a:rPr>
                <a:t>Cost out and digitization initiatives</a:t>
              </a:r>
            </a:p>
          </p:txBody>
        </p:sp>
        <p:pic>
          <p:nvPicPr>
            <p:cNvPr id="80" name="Picture 94" descr="sie_logo_petrol_rgb_S">
              <a:extLst>
                <a:ext uri="{FF2B5EF4-FFF2-40B4-BE49-F238E27FC236}">
                  <a16:creationId xmlns:a16="http://schemas.microsoft.com/office/drawing/2014/main" id="{57C3BB17-4CC5-464A-A6BE-2DD32617BE4E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15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3248" y="5940022"/>
              <a:ext cx="882607" cy="138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B919DB2F-664D-272A-78E0-BE11371F169A}"/>
              </a:ext>
            </a:extLst>
          </p:cNvPr>
          <p:cNvGrpSpPr/>
          <p:nvPr/>
        </p:nvGrpSpPr>
        <p:grpSpPr>
          <a:xfrm>
            <a:off x="620911" y="4612359"/>
            <a:ext cx="11117431" cy="792000"/>
            <a:chOff x="620911" y="4703082"/>
            <a:chExt cx="11117431" cy="792000"/>
          </a:xfrm>
        </p:grpSpPr>
        <p:sp>
          <p:nvSpPr>
            <p:cNvPr id="43" name="Textplatzhalter 10">
              <a:extLst>
                <a:ext uri="{FF2B5EF4-FFF2-40B4-BE49-F238E27FC236}">
                  <a16:creationId xmlns:a16="http://schemas.microsoft.com/office/drawing/2014/main" id="{BC9B9997-F24F-4DD6-8F20-8009B37D6BEF}"/>
                </a:ext>
              </a:extLst>
            </p:cNvPr>
            <p:cNvSpPr txBox="1">
              <a:spLocks/>
            </p:cNvSpPr>
            <p:nvPr/>
          </p:nvSpPr>
          <p:spPr>
            <a:xfrm>
              <a:off x="1851186" y="4703082"/>
              <a:ext cx="4140000" cy="79200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54000" tIns="36000" rIns="36000" bIns="36000" rtlCol="0" anchor="ctr" anchorCtr="0">
              <a:noAutofit/>
            </a:bodyPr>
            <a:lstStyle>
              <a:defPPr>
                <a:defRPr lang="de-DE"/>
              </a:defPPr>
              <a:lvl1pPr marL="171450" indent="-171450">
                <a:lnSpc>
                  <a:spcPct val="100000"/>
                </a:lnSpc>
                <a:spcBef>
                  <a:spcPts val="500"/>
                </a:spcBef>
                <a:buClr>
                  <a:srgbClr val="052E5A"/>
                </a:buClr>
                <a:buSzPct val="115000"/>
                <a:buFont typeface="Wingdings" pitchFamily="2" charset="2"/>
                <a:buChar char="§"/>
                <a:defRPr sz="1100" b="0">
                  <a:cs typeface="Arial" pitchFamily="34" charset="0"/>
                </a:defRPr>
              </a:lvl1pPr>
              <a:lvl2pPr marL="144463" lvl="1" indent="-144463" defTabSz="762000" fontAlgn="base">
                <a:lnSpc>
                  <a:spcPct val="95000"/>
                </a:lnSpc>
                <a:spcBef>
                  <a:spcPts val="100"/>
                </a:spcBef>
                <a:buClr>
                  <a:schemeClr val="tx2"/>
                </a:buClr>
                <a:buSzPct val="115000"/>
                <a:buFont typeface="Wingdings" pitchFamily="2" charset="2"/>
                <a:buChar char=""/>
                <a:defRPr sz="1000" b="0">
                  <a:solidFill>
                    <a:schemeClr val="dk1"/>
                  </a:solidFill>
                  <a:cs typeface="Arial" pitchFamily="34" charset="0"/>
                </a:defRPr>
              </a:lvl2pPr>
              <a:lvl3pPr marL="374400" lvl="2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3pPr>
              <a:lvl4pPr marL="561600" lvl="3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4pPr>
              <a:lvl5pPr marL="748800" lvl="4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5pPr>
              <a:lvl6pPr marL="936000" lvl="5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6pPr>
              <a:lvl7pPr marL="1123200" lvl="6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7pPr>
              <a:lvl8pPr marL="1310400" lvl="7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8pPr>
              <a:lvl9pPr marL="1497600" lvl="8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9pPr>
            </a:lstStyle>
            <a:p>
              <a:pPr lvl="1">
                <a:spcBef>
                  <a:spcPts val="2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GB">
                  <a:solidFill>
                    <a:schemeClr val="tx1"/>
                  </a:solidFill>
                </a:rPr>
                <a:t>Set-up of spend cube </a:t>
              </a:r>
            </a:p>
            <a:p>
              <a:pPr lvl="1">
                <a:spcBef>
                  <a:spcPts val="2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GB">
                  <a:solidFill>
                    <a:schemeClr val="tx1"/>
                  </a:solidFill>
                </a:rPr>
                <a:t>Verification of existing savings target + ramp-up</a:t>
              </a:r>
            </a:p>
            <a:p>
              <a:pPr lvl="1">
                <a:spcBef>
                  <a:spcPts val="2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GB">
                  <a:solidFill>
                    <a:schemeClr val="tx1"/>
                  </a:solidFill>
                </a:rPr>
                <a:t>Identification of additional potential &amp; Quick Wins</a:t>
              </a:r>
            </a:p>
            <a:p>
              <a:pPr lvl="1">
                <a:spcBef>
                  <a:spcPts val="2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en-GB">
                  <a:solidFill>
                    <a:schemeClr val="tx1"/>
                  </a:solidFill>
                </a:rPr>
                <a:t>93 additional savings initiatives</a:t>
              </a:r>
            </a:p>
          </p:txBody>
        </p:sp>
        <p:sp>
          <p:nvSpPr>
            <p:cNvPr id="58" name="Textplatzhalter 10">
              <a:extLst>
                <a:ext uri="{FF2B5EF4-FFF2-40B4-BE49-F238E27FC236}">
                  <a16:creationId xmlns:a16="http://schemas.microsoft.com/office/drawing/2014/main" id="{9338B185-DA6D-4536-A256-260B41FD0A9B}"/>
                </a:ext>
              </a:extLst>
            </p:cNvPr>
            <p:cNvSpPr txBox="1">
              <a:spLocks/>
            </p:cNvSpPr>
            <p:nvPr/>
          </p:nvSpPr>
          <p:spPr>
            <a:xfrm>
              <a:off x="7598342" y="4703082"/>
              <a:ext cx="4140000" cy="79200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54000" tIns="36000" rIns="36000" bIns="36000" rtlCol="0" anchor="ctr" anchorCtr="0">
              <a:noAutofit/>
            </a:bodyPr>
            <a:lstStyle>
              <a:defPPr>
                <a:defRPr lang="en-US"/>
              </a:defPPr>
              <a:lvl1pPr indent="0">
                <a:lnSpc>
                  <a:spcPct val="95000"/>
                </a:lnSpc>
                <a:spcBef>
                  <a:spcPts val="500"/>
                </a:spcBef>
                <a:buClr>
                  <a:schemeClr val="tx2"/>
                </a:buClr>
                <a:buSzPct val="115000"/>
                <a:buFont typeface="Arial" pitchFamily="34" charset="0"/>
                <a:buNone/>
                <a:defRPr sz="1200" b="0">
                  <a:cs typeface="Arial" pitchFamily="34" charset="0"/>
                </a:defRPr>
              </a:lvl1pPr>
              <a:lvl2pPr marL="187200" lvl="1" indent="-187200">
                <a:lnSpc>
                  <a:spcPct val="90000"/>
                </a:lnSpc>
                <a:spcBef>
                  <a:spcPts val="300"/>
                </a:spcBef>
                <a:buClr>
                  <a:srgbClr val="052E5A"/>
                </a:buClr>
                <a:buSzPct val="115000"/>
                <a:buFont typeface="Wingdings" panose="05000000000000000000" pitchFamily="2" charset="2"/>
                <a:buChar char="§"/>
                <a:defRPr sz="1100" b="0">
                  <a:solidFill>
                    <a:srgbClr val="000000"/>
                  </a:solidFill>
                  <a:cs typeface="Arial" pitchFamily="34" charset="0"/>
                </a:defRPr>
              </a:lvl2pPr>
              <a:lvl3pPr marL="374400" lvl="2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3pPr>
              <a:lvl4pPr marL="561600" lvl="3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4pPr>
              <a:lvl5pPr marL="748800" lvl="4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5pPr>
              <a:lvl6pPr marL="936000" lvl="5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6pPr>
              <a:lvl7pPr marL="1123200" lvl="6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7pPr>
              <a:lvl8pPr marL="1310400" lvl="7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8pPr>
              <a:lvl9pPr marL="1497600" lvl="8" indent="-187200">
                <a:lnSpc>
                  <a:spcPct val="95000"/>
                </a:lnSpc>
                <a:spcBef>
                  <a:spcPts val="300"/>
                </a:spcBef>
                <a:buClr>
                  <a:schemeClr val="tx2"/>
                </a:buClr>
                <a:buSzPct val="115000"/>
                <a:buFont typeface="Symbol" pitchFamily="18" charset="2"/>
                <a:buChar char=""/>
                <a:defRPr sz="1200" b="0">
                  <a:cs typeface="Arial" pitchFamily="34" charset="0"/>
                </a:defRPr>
              </a:lvl9pPr>
            </a:lstStyle>
            <a:p>
              <a:pPr lvl="1">
                <a:spcBef>
                  <a:spcPts val="200"/>
                </a:spcBef>
                <a:buClr>
                  <a:schemeClr val="tx1"/>
                </a:buClr>
              </a:pPr>
              <a:r>
                <a:rPr lang="en-GB" sz="1000">
                  <a:solidFill>
                    <a:schemeClr val="tx1"/>
                  </a:solidFill>
                </a:rPr>
                <a:t>Savings program in MRO, IT and Logistics</a:t>
              </a:r>
            </a:p>
            <a:p>
              <a:pPr lvl="1">
                <a:spcBef>
                  <a:spcPts val="200"/>
                </a:spcBef>
                <a:buClr>
                  <a:schemeClr val="tx1"/>
                </a:buClr>
              </a:pPr>
              <a:r>
                <a:rPr lang="en-GB" sz="1000">
                  <a:solidFill>
                    <a:schemeClr val="tx1"/>
                  </a:solidFill>
                </a:rPr>
                <a:t>Optimization of MRO organization, Set-up </a:t>
              </a:r>
              <a:br>
                <a:rPr lang="en-GB" sz="1000">
                  <a:solidFill>
                    <a:schemeClr val="tx1"/>
                  </a:solidFill>
                </a:rPr>
              </a:br>
              <a:r>
                <a:rPr lang="en-GB" sz="1000">
                  <a:solidFill>
                    <a:schemeClr val="tx1"/>
                  </a:solidFill>
                </a:rPr>
                <a:t>of new procurement organization</a:t>
              </a:r>
            </a:p>
          </p:txBody>
        </p:sp>
        <p:pic>
          <p:nvPicPr>
            <p:cNvPr id="41" name="Picture 3">
              <a:extLst>
                <a:ext uri="{FF2B5EF4-FFF2-40B4-BE49-F238E27FC236}">
                  <a16:creationId xmlns:a16="http://schemas.microsoft.com/office/drawing/2014/main" id="{A343A9EC-8DE0-4671-89B3-4E94C7D27D3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20911" y="4959962"/>
              <a:ext cx="974944" cy="278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" name="Grafik 58">
              <a:extLst>
                <a:ext uri="{FF2B5EF4-FFF2-40B4-BE49-F238E27FC236}">
                  <a16:creationId xmlns:a16="http://schemas.microsoft.com/office/drawing/2014/main" id="{384B5560-EB54-4C0F-8249-29A9C11009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78891" y="5017105"/>
              <a:ext cx="998905" cy="163955"/>
            </a:xfrm>
            <a:prstGeom prst="rect">
              <a:avLst/>
            </a:prstGeom>
          </p:spPr>
        </p:pic>
      </p:grpSp>
      <p:cxnSp>
        <p:nvCxnSpPr>
          <p:cNvPr id="12" name="Straight Connector 80">
            <a:extLst>
              <a:ext uri="{FF2B5EF4-FFF2-40B4-BE49-F238E27FC236}">
                <a16:creationId xmlns:a16="http://schemas.microsoft.com/office/drawing/2014/main" id="{88D36E86-5441-86B7-C0EE-DF731A1BB303}"/>
              </a:ext>
            </a:extLst>
          </p:cNvPr>
          <p:cNvCxnSpPr/>
          <p:nvPr/>
        </p:nvCxnSpPr>
        <p:spPr>
          <a:xfrm>
            <a:off x="404812" y="2832079"/>
            <a:ext cx="55800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82">
            <a:extLst>
              <a:ext uri="{FF2B5EF4-FFF2-40B4-BE49-F238E27FC236}">
                <a16:creationId xmlns:a16="http://schemas.microsoft.com/office/drawing/2014/main" id="{52D3F327-88EE-7939-43C5-2416EEB84011}"/>
              </a:ext>
            </a:extLst>
          </p:cNvPr>
          <p:cNvCxnSpPr/>
          <p:nvPr/>
        </p:nvCxnSpPr>
        <p:spPr>
          <a:xfrm>
            <a:off x="6200836" y="2832079"/>
            <a:ext cx="55800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80">
            <a:extLst>
              <a:ext uri="{FF2B5EF4-FFF2-40B4-BE49-F238E27FC236}">
                <a16:creationId xmlns:a16="http://schemas.microsoft.com/office/drawing/2014/main" id="{E405B6B1-18CC-1CE2-1CEF-0FF4FF83D6A5}"/>
              </a:ext>
            </a:extLst>
          </p:cNvPr>
          <p:cNvCxnSpPr/>
          <p:nvPr/>
        </p:nvCxnSpPr>
        <p:spPr>
          <a:xfrm>
            <a:off x="404812" y="3642619"/>
            <a:ext cx="55800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82">
            <a:extLst>
              <a:ext uri="{FF2B5EF4-FFF2-40B4-BE49-F238E27FC236}">
                <a16:creationId xmlns:a16="http://schemas.microsoft.com/office/drawing/2014/main" id="{BCCAD9D8-EE83-1BFC-147F-A147A23077B8}"/>
              </a:ext>
            </a:extLst>
          </p:cNvPr>
          <p:cNvCxnSpPr/>
          <p:nvPr/>
        </p:nvCxnSpPr>
        <p:spPr>
          <a:xfrm>
            <a:off x="6200836" y="3642619"/>
            <a:ext cx="55800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80">
            <a:extLst>
              <a:ext uri="{FF2B5EF4-FFF2-40B4-BE49-F238E27FC236}">
                <a16:creationId xmlns:a16="http://schemas.microsoft.com/office/drawing/2014/main" id="{3D8CC8CC-8647-C90C-25EA-805778F0AC63}"/>
              </a:ext>
            </a:extLst>
          </p:cNvPr>
          <p:cNvCxnSpPr/>
          <p:nvPr/>
        </p:nvCxnSpPr>
        <p:spPr>
          <a:xfrm>
            <a:off x="404812" y="4584555"/>
            <a:ext cx="55800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82">
            <a:extLst>
              <a:ext uri="{FF2B5EF4-FFF2-40B4-BE49-F238E27FC236}">
                <a16:creationId xmlns:a16="http://schemas.microsoft.com/office/drawing/2014/main" id="{22C6D756-BE41-C56F-F2A6-FA61C59C76FF}"/>
              </a:ext>
            </a:extLst>
          </p:cNvPr>
          <p:cNvCxnSpPr/>
          <p:nvPr/>
        </p:nvCxnSpPr>
        <p:spPr>
          <a:xfrm>
            <a:off x="6200836" y="4584555"/>
            <a:ext cx="55800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80">
            <a:extLst>
              <a:ext uri="{FF2B5EF4-FFF2-40B4-BE49-F238E27FC236}">
                <a16:creationId xmlns:a16="http://schemas.microsoft.com/office/drawing/2014/main" id="{BF75FD72-28CE-44ED-BE6A-F8B6F1D3000E}"/>
              </a:ext>
            </a:extLst>
          </p:cNvPr>
          <p:cNvCxnSpPr/>
          <p:nvPr/>
        </p:nvCxnSpPr>
        <p:spPr>
          <a:xfrm>
            <a:off x="404812" y="5464815"/>
            <a:ext cx="55800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82">
            <a:extLst>
              <a:ext uri="{FF2B5EF4-FFF2-40B4-BE49-F238E27FC236}">
                <a16:creationId xmlns:a16="http://schemas.microsoft.com/office/drawing/2014/main" id="{93556E63-8A7D-3723-940C-FEAC34897450}"/>
              </a:ext>
            </a:extLst>
          </p:cNvPr>
          <p:cNvCxnSpPr/>
          <p:nvPr/>
        </p:nvCxnSpPr>
        <p:spPr>
          <a:xfrm>
            <a:off x="6200836" y="5464815"/>
            <a:ext cx="55800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42051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5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F8&quot; g=&quot;B9&quot; b=&quot;8F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0OJAGUUUqTRsu.vqJp0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CONTENT-SLIDE" val="2021-12-13 19:29:28"/>
  <p:tag name="KM-QUALITY-SLIDE" val="2021-12-13 19:28:57"/>
  <p:tag name="SLIDEHUBID" val="B08B3639-F61D-455F-BCBC-EC46A7EAC43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EmAF0aTgOhx.d0Bgybg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o.Qf.sTKypfHi3CRuaH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o.Qf.sTKypfHi3CRuaH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teHRBTEeCgRulDLBU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0OJAGUUUqTRsu.vqJp0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sCCC_mZUK81yBxBoEX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ZCAF0KnkmMGgX_xXoQ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sCCC_mZUK81yBxBoEX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0OJAGUUUqTRsu.vqJp0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sCCC_mZUK81yBxBoEXx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sCCC_mZUK81yBxBoEXx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ZCAF0KnkmMGgX_xXoQp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sCCC_mZUK81yBxBoEXx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ZCAF0KnkmMGgX_xXoQp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sCCC_mZUK81yBxBoEXx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&amp;Z">
  <a:themeElements>
    <a:clrScheme name="Benutzerdefiniert 54">
      <a:dk1>
        <a:sysClr val="windowText" lastClr="000000"/>
      </a:dk1>
      <a:lt1>
        <a:sysClr val="window" lastClr="FFFFFF"/>
      </a:lt1>
      <a:dk2>
        <a:srgbClr val="7F7F7F"/>
      </a:dk2>
      <a:lt2>
        <a:srgbClr val="E6E6E6"/>
      </a:lt2>
      <a:accent1>
        <a:srgbClr val="0A1E6E"/>
      </a:accent1>
      <a:accent2>
        <a:srgbClr val="4B96D2"/>
      </a:accent2>
      <a:accent3>
        <a:srgbClr val="96D2E5"/>
      </a:accent3>
      <a:accent4>
        <a:srgbClr val="D8356E"/>
      </a:accent4>
      <a:accent5>
        <a:srgbClr val="F28B48"/>
      </a:accent5>
      <a:accent6>
        <a:srgbClr val="ECE7E3"/>
      </a:accent6>
      <a:hlink>
        <a:srgbClr val="000000"/>
      </a:hlink>
      <a:folHlink>
        <a:srgbClr val="000000"/>
      </a:folHlink>
    </a:clrScheme>
    <a:fontScheme name="Benutzerdefiniert 60">
      <a:majorFont>
        <a:latin typeface="H&amp;Z Campton TT Book"/>
        <a:ea typeface=""/>
        <a:cs typeface=""/>
      </a:majorFont>
      <a:minorFont>
        <a:latin typeface="H&amp;Z Campton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91440" tIns="45720" rIns="91440" bIns="45720" rtlCol="0" anchor="t"/>
      <a:lstStyle>
        <a:defPPr algn="l">
          <a:lnSpc>
            <a:spcPct val="120000"/>
          </a:lnSpc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400" dirty="0" err="1" smtClean="0"/>
        </a:defPPr>
      </a:lstStyle>
    </a:txDef>
  </a:objectDefaults>
  <a:extraClrSchemeLst/>
  <a:custClrLst>
    <a:custClr>
      <a:srgbClr val="0A1E6E"/>
    </a:custClr>
    <a:custClr>
      <a:srgbClr val="3B4B8B"/>
    </a:custClr>
    <a:custClr>
      <a:srgbClr val="6C78A8"/>
    </a:custClr>
    <a:custClr>
      <a:srgbClr val="B5BBD3"/>
    </a:custClr>
    <a:custClr>
      <a:srgbClr val="FFFFFF"/>
    </a:custClr>
    <a:custClr>
      <a:srgbClr val="4B96D2"/>
    </a:custClr>
    <a:custClr>
      <a:srgbClr val="6FABDB"/>
    </a:custClr>
    <a:custClr>
      <a:srgbClr val="93C0E4"/>
    </a:custClr>
    <a:custClr>
      <a:srgbClr val="C9DFF1"/>
    </a:custClr>
    <a:custClr>
      <a:srgbClr val="FFFFFF"/>
    </a:custClr>
    <a:custClr>
      <a:srgbClr val="96D2E5"/>
    </a:custClr>
    <a:custClr>
      <a:srgbClr val="ABDBEA"/>
    </a:custClr>
    <a:custClr>
      <a:srgbClr val="C0E4EF"/>
    </a:custClr>
    <a:custClr>
      <a:srgbClr val="DFF1F7"/>
    </a:custClr>
    <a:custClr>
      <a:srgbClr val="FFFFFF"/>
    </a:custClr>
    <a:custClr>
      <a:srgbClr val="D8356E"/>
    </a:custClr>
    <a:custClr>
      <a:srgbClr val="E05D8B"/>
    </a:custClr>
    <a:custClr>
      <a:srgbClr val="E886A8"/>
    </a:custClr>
    <a:custClr>
      <a:srgbClr val="F3C2D3"/>
    </a:custClr>
    <a:custClr>
      <a:srgbClr val="FFFFFF"/>
    </a:custClr>
    <a:custClr>
      <a:srgbClr val="F28B48"/>
    </a:custClr>
    <a:custClr>
      <a:srgbClr val="F5A26D"/>
    </a:custClr>
    <a:custClr>
      <a:srgbClr val="F7B991"/>
    </a:custClr>
    <a:custClr>
      <a:srgbClr val="FBDCC8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528AAF"/>
    </a:custClr>
    <a:custClr>
      <a:srgbClr val="71B2D1"/>
    </a:custClr>
    <a:custClr>
      <a:srgbClr val="A2C3D6"/>
    </a:custClr>
    <a:custClr>
      <a:srgbClr val="AAD2E8"/>
    </a:custClr>
    <a:custClr>
      <a:srgbClr val="CFE1EB"/>
    </a:custClr>
    <a:custClr>
      <a:srgbClr val="D5ECF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4B4B4B"/>
    </a:custClr>
    <a:custClr>
      <a:srgbClr val="818181"/>
    </a:custClr>
    <a:custClr>
      <a:srgbClr val="9B9B9B"/>
    </a:custClr>
    <a:custClr>
      <a:srgbClr val="B4B4B4"/>
    </a:custClr>
    <a:custClr>
      <a:srgbClr val="CDCDCD"/>
    </a:custClr>
    <a:custClr>
      <a:srgbClr val="E6E6E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HZ_PowerPoint_16x9_MASTER.pptx" id="{FB3DC18D-9C4E-4334-B2F1-43ABB0ACD299}" vid="{9E6B80F7-F50D-4997-B647-62EDE593DF5A}"/>
    </a:ext>
  </a:extLst>
</a:theme>
</file>

<file path=ppt/theme/theme2.xml><?xml version="1.0" encoding="utf-8"?>
<a:theme xmlns:a="http://schemas.openxmlformats.org/drawingml/2006/main" name="Wacker Neuson Group">
  <a:themeElements>
    <a:clrScheme name="Wacker Neuson Group">
      <a:dk1>
        <a:srgbClr val="000000"/>
      </a:dk1>
      <a:lt1>
        <a:sysClr val="window" lastClr="FFFFFF"/>
      </a:lt1>
      <a:dk2>
        <a:srgbClr val="23697B"/>
      </a:dk2>
      <a:lt2>
        <a:srgbClr val="97C4D4"/>
      </a:lt2>
      <a:accent1>
        <a:srgbClr val="545454"/>
      </a:accent1>
      <a:accent2>
        <a:srgbClr val="8A8A8A"/>
      </a:accent2>
      <a:accent3>
        <a:srgbClr val="A8A8A8"/>
      </a:accent3>
      <a:accent4>
        <a:srgbClr val="CCCCCC"/>
      </a:accent4>
      <a:accent5>
        <a:srgbClr val="E4E4E4"/>
      </a:accent5>
      <a:accent6>
        <a:srgbClr val="5DA4B7"/>
      </a:accent6>
      <a:hlink>
        <a:srgbClr val="000000"/>
      </a:hlink>
      <a:folHlink>
        <a:srgbClr val="000000"/>
      </a:folHlink>
    </a:clrScheme>
    <a:fontScheme name="Wacker Neuso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cap="sq">
          <a:noFill/>
        </a:ln>
      </a:spPr>
      <a:bodyPr lIns="72000" tIns="36000" rIns="72000" bIns="36000" numCol="1" rtlCol="0" anchor="ctr"/>
      <a:lstStyle>
        <a:defPPr marL="171450" indent="-171450" algn="l">
          <a:spcBef>
            <a:spcPts val="300"/>
          </a:spcBef>
          <a:buFont typeface="Wingdings" panose="05000000000000000000" pitchFamily="2" charset="2"/>
          <a:buChar char="§"/>
          <a:defRPr sz="1200" b="1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252000" indent="-252000" algn="l">
          <a:lnSpc>
            <a:spcPct val="110000"/>
          </a:lnSpc>
          <a:spcBef>
            <a:spcPts val="400"/>
          </a:spcBef>
          <a:spcAft>
            <a:spcPts val="400"/>
          </a:spcAft>
          <a:buSzPct val="80000"/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custClrLst>
    <a:custClr name="Dark Blue">
      <a:srgbClr val="004048"/>
    </a:custClr>
    <a:custClr name="Red">
      <a:srgbClr val="D10019"/>
    </a:custClr>
    <a:custClr name="Yellow">
      <a:srgbClr val="FFD511"/>
    </a:custClr>
    <a:custClr name="Teal">
      <a:srgbClr val="19806A"/>
    </a:custClr>
    <a:custClr name="Green">
      <a:srgbClr val="00B54E"/>
    </a:custClr>
  </a:custClrLst>
  <a:extLst>
    <a:ext uri="{05A4C25C-085E-4340-85A3-A5531E510DB2}">
      <thm15:themeFamily xmlns:thm15="http://schemas.microsoft.com/office/thememl/2012/main" name="WNG_PowerPointvorlage_DE.potx [Schreibgeschützt]" id="{4207F0BB-0D0B-42EE-8BB6-4175DF0E6BFC}" vid="{F2FF687F-B43E-4EEE-97C3-593762C1CF55}"/>
    </a:ext>
  </a:extLst>
</a:theme>
</file>

<file path=ppt/theme/theme3.xml><?xml version="1.0" encoding="utf-8"?>
<a:theme xmlns:a="http://schemas.openxmlformats.org/drawingml/2006/main" name="1_Wacker Neuson Group">
  <a:themeElements>
    <a:clrScheme name="Wacker Neuson Group">
      <a:dk1>
        <a:srgbClr val="000000"/>
      </a:dk1>
      <a:lt1>
        <a:sysClr val="window" lastClr="FFFFFF"/>
      </a:lt1>
      <a:dk2>
        <a:srgbClr val="23697B"/>
      </a:dk2>
      <a:lt2>
        <a:srgbClr val="97C4D4"/>
      </a:lt2>
      <a:accent1>
        <a:srgbClr val="545454"/>
      </a:accent1>
      <a:accent2>
        <a:srgbClr val="8A8A8A"/>
      </a:accent2>
      <a:accent3>
        <a:srgbClr val="A8A8A8"/>
      </a:accent3>
      <a:accent4>
        <a:srgbClr val="CCCCCC"/>
      </a:accent4>
      <a:accent5>
        <a:srgbClr val="E4E4E4"/>
      </a:accent5>
      <a:accent6>
        <a:srgbClr val="5DA4B7"/>
      </a:accent6>
      <a:hlink>
        <a:srgbClr val="000000"/>
      </a:hlink>
      <a:folHlink>
        <a:srgbClr val="000000"/>
      </a:folHlink>
    </a:clrScheme>
    <a:fontScheme name="Wacker Neuso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cap="sq">
          <a:noFill/>
        </a:ln>
      </a:spPr>
      <a:bodyPr lIns="72000" tIns="36000" rIns="72000" bIns="36000" numCol="1" rtlCol="0" anchor="ctr"/>
      <a:lstStyle>
        <a:defPPr marL="171450" indent="-171450" algn="l">
          <a:spcBef>
            <a:spcPts val="300"/>
          </a:spcBef>
          <a:buFont typeface="Wingdings" panose="05000000000000000000" pitchFamily="2" charset="2"/>
          <a:buChar char="§"/>
          <a:defRPr sz="1200" b="1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252000" indent="-252000" algn="l">
          <a:lnSpc>
            <a:spcPct val="110000"/>
          </a:lnSpc>
          <a:spcBef>
            <a:spcPts val="400"/>
          </a:spcBef>
          <a:spcAft>
            <a:spcPts val="400"/>
          </a:spcAft>
          <a:buSzPct val="80000"/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custClrLst>
    <a:custClr name="Dark Blue">
      <a:srgbClr val="004048"/>
    </a:custClr>
    <a:custClr name="Red">
      <a:srgbClr val="D10019"/>
    </a:custClr>
    <a:custClr name="Yellow">
      <a:srgbClr val="FFD511"/>
    </a:custClr>
    <a:custClr name="Teal">
      <a:srgbClr val="19806A"/>
    </a:custClr>
    <a:custClr name="Green">
      <a:srgbClr val="00B54E"/>
    </a:custClr>
  </a:custClrLst>
  <a:extLst>
    <a:ext uri="{05A4C25C-085E-4340-85A3-A5531E510DB2}">
      <thm15:themeFamily xmlns:thm15="http://schemas.microsoft.com/office/thememl/2012/main" name="WNG_PowerPointvorlage_DE.potx [Schreibgeschützt]" id="{4207F0BB-0D0B-42EE-8BB6-4175DF0E6BFC}" vid="{F2FF687F-B43E-4EEE-97C3-593762C1CF55}"/>
    </a:ext>
  </a:extLst>
</a:theme>
</file>

<file path=ppt/theme/theme4.xml><?xml version="1.0" encoding="utf-8"?>
<a:theme xmlns:a="http://schemas.openxmlformats.org/drawingml/2006/main" name="Office">
  <a:themeElements>
    <a:clrScheme name="Benutzerdefiniert 54">
      <a:dk1>
        <a:sysClr val="windowText" lastClr="000000"/>
      </a:dk1>
      <a:lt1>
        <a:sysClr val="window" lastClr="FFFFFF"/>
      </a:lt1>
      <a:dk2>
        <a:srgbClr val="7F7F7F"/>
      </a:dk2>
      <a:lt2>
        <a:srgbClr val="E6E6E6"/>
      </a:lt2>
      <a:accent1>
        <a:srgbClr val="0A1E6E"/>
      </a:accent1>
      <a:accent2>
        <a:srgbClr val="4B96D2"/>
      </a:accent2>
      <a:accent3>
        <a:srgbClr val="96D2E5"/>
      </a:accent3>
      <a:accent4>
        <a:srgbClr val="D8356E"/>
      </a:accent4>
      <a:accent5>
        <a:srgbClr val="F28B48"/>
      </a:accent5>
      <a:accent6>
        <a:srgbClr val="ECE7E3"/>
      </a:accent6>
      <a:hlink>
        <a:srgbClr val="000000"/>
      </a:hlink>
      <a:folHlink>
        <a:srgbClr val="000000"/>
      </a:folHlink>
    </a:clrScheme>
    <a:fontScheme name="Benutzerdefiniert 60">
      <a:majorFont>
        <a:latin typeface="H&amp;Z Campton TT Book"/>
        <a:ea typeface=""/>
        <a:cs typeface=""/>
      </a:majorFont>
      <a:minorFont>
        <a:latin typeface="H&amp;Z Campton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Benutzerdefiniert 54">
      <a:dk1>
        <a:sysClr val="windowText" lastClr="000000"/>
      </a:dk1>
      <a:lt1>
        <a:sysClr val="window" lastClr="FFFFFF"/>
      </a:lt1>
      <a:dk2>
        <a:srgbClr val="7F7F7F"/>
      </a:dk2>
      <a:lt2>
        <a:srgbClr val="E6E6E6"/>
      </a:lt2>
      <a:accent1>
        <a:srgbClr val="0A1E6E"/>
      </a:accent1>
      <a:accent2>
        <a:srgbClr val="4B96D2"/>
      </a:accent2>
      <a:accent3>
        <a:srgbClr val="96D2E5"/>
      </a:accent3>
      <a:accent4>
        <a:srgbClr val="D8356E"/>
      </a:accent4>
      <a:accent5>
        <a:srgbClr val="F28B48"/>
      </a:accent5>
      <a:accent6>
        <a:srgbClr val="ECE7E3"/>
      </a:accent6>
      <a:hlink>
        <a:srgbClr val="000000"/>
      </a:hlink>
      <a:folHlink>
        <a:srgbClr val="000000"/>
      </a:folHlink>
    </a:clrScheme>
    <a:fontScheme name="Benutzerdefiniert 60">
      <a:majorFont>
        <a:latin typeface="H&amp;Z Campton TT Book"/>
        <a:ea typeface=""/>
        <a:cs typeface=""/>
      </a:majorFont>
      <a:minorFont>
        <a:latin typeface="H&amp;Z Campton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6">
    <wetp:webextensionref xmlns:r="http://schemas.openxmlformats.org/officeDocument/2006/relationships" r:id="rId1"/>
  </wetp:taskpane>
  <wetp:taskpane dockstate="right" visibility="0" width="350" row="7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C13B6D00-A016-4BEC-9691-4E2D4D55005F}">
  <we:reference id="a761e866-31f6-4676-9a6c-095a3a900831" version="1.0.0.7" store="EXCatalog" storeType="EXCatalog"/>
  <we:alternateReferences>
    <we:reference id="WA200001625" version="1.0.0.7" store="en-US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2DD25FFE-D4E9-471F-AF0E-546493E922FC}">
  <we:reference id="a761e866-31f6-4676-9a6c-095a3a900832" version="1.0.0.4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c90da91-de8f-4265-b3ae-d30936bed380">
      <UserInfo>
        <DisplayName>Klaus Katzer</DisplayName>
        <AccountId>25</AccountId>
        <AccountType/>
      </UserInfo>
      <UserInfo>
        <DisplayName>Detlef Tietze</DisplayName>
        <AccountId>12</AccountId>
        <AccountType/>
      </UserInfo>
      <UserInfo>
        <DisplayName>Sven C. Schumacher</DisplayName>
        <AccountId>14</AccountId>
        <AccountType/>
      </UserInfo>
      <UserInfo>
        <DisplayName>_spocrwl_187274</DisplayName>
        <AccountId>10</AccountId>
        <AccountType/>
      </UserInfo>
      <UserInfo>
        <DisplayName>Stefan Aichbauer</DisplayName>
        <AccountId>6</AccountId>
        <AccountType/>
      </UserInfo>
      <UserInfo>
        <DisplayName>Jonas Harm</DisplayName>
        <AccountId>92</AccountId>
        <AccountType/>
      </UserInfo>
    </SharedWithUsers>
    <Branche xmlns="e80f594f-e4fd-48a9-9e31-fca2239af45d" xsi:nil="true"/>
    <Kunde xmlns="e80f594f-e4fd-48a9-9e31-fca2239af45d" xsi:nil="true"/>
    <Topic_x002f_Product xmlns="e80f594f-e4fd-48a9-9e31-fca2239af45d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43CC4DE2933754087479E68D7350F91" ma:contentTypeVersion="18" ma:contentTypeDescription="Ein neues Dokument erstellen." ma:contentTypeScope="" ma:versionID="0772a70f179163c55513fb09ddc6db3d">
  <xsd:schema xmlns:xsd="http://www.w3.org/2001/XMLSchema" xmlns:xs="http://www.w3.org/2001/XMLSchema" xmlns:p="http://schemas.microsoft.com/office/2006/metadata/properties" xmlns:ns2="e80f594f-e4fd-48a9-9e31-fca2239af45d" xmlns:ns3="5c90da91-de8f-4265-b3ae-d30936bed380" targetNamespace="http://schemas.microsoft.com/office/2006/metadata/properties" ma:root="true" ma:fieldsID="2d70166e699a176bc411abd3f5c63f15" ns2:_="" ns3:_="">
    <xsd:import namespace="e80f594f-e4fd-48a9-9e31-fca2239af45d"/>
    <xsd:import namespace="5c90da91-de8f-4265-b3ae-d30936bed38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Kunde" minOccurs="0"/>
                <xsd:element ref="ns2:Branche" minOccurs="0"/>
                <xsd:element ref="ns2:Topic_x002f_Produc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0f594f-e4fd-48a9-9e31-fca2239af4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Kunde" ma:index="21" nillable="true" ma:displayName="Client" ma:format="Dropdown" ma:internalName="Kunde">
      <xsd:simpleType>
        <xsd:restriction base="dms:Text">
          <xsd:maxLength value="255"/>
        </xsd:restriction>
      </xsd:simpleType>
    </xsd:element>
    <xsd:element name="Branche" ma:index="22" nillable="true" ma:displayName="Industry" ma:format="Dropdown" ma:internalName="Branche">
      <xsd:simpleType>
        <xsd:restriction base="dms:Text">
          <xsd:maxLength value="255"/>
        </xsd:restriction>
      </xsd:simpleType>
    </xsd:element>
    <xsd:element name="Topic_x002f_Product" ma:index="23" nillable="true" ma:displayName="Topic/Product" ma:format="Dropdown" ma:internalName="Topic_x002f_Product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S&amp;P - E2E process optimization"/>
                    <xsd:enumeration value="S&amp;P - Growth B2B"/>
                    <xsd:enumeration value="S&amp;P - Operational Excellence"/>
                    <xsd:enumeration value="S&amp;P - M&amp;A"/>
                    <xsd:enumeration value="S&amp;P - PLM"/>
                    <xsd:enumeration value="S&amp;P - SGA cost structure"/>
                    <xsd:enumeration value="S&amp;P - S&amp;OP"/>
                    <xsd:enumeration value="S&amp;P - Strategy"/>
                    <xsd:enumeration value="S&amp;P - Value Chain Digitization"/>
                    <xsd:enumeration value="PROC - Direct category"/>
                    <xsd:enumeration value="PROC - Indirect category"/>
                    <xsd:enumeration value="PROC - Re-negotiation, Game Theory"/>
                    <xsd:enumeration value="PROC - Short-term savings"/>
                    <xsd:enumeration value="PROC - Supplier days"/>
                    <xsd:enumeration value="PROC - Commodity maturity assessment"/>
                    <xsd:enumeration value="PROC - med/long-term VCP"/>
                    <xsd:enumeration value="PROC - MLPP"/>
                    <xsd:enumeration value="PROC - Product benchmarking, Value engineering"/>
                    <xsd:enumeration value="PROC - Should costing"/>
                    <xsd:enumeration value="PROC - Technical CVE"/>
                    <xsd:enumeration value="PROC - Bundling model"/>
                    <xsd:enumeration value="PROC - Business partner relationship"/>
                    <xsd:enumeration value="PROC - Category management"/>
                    <xsd:enumeration value="PROC - Digital business model"/>
                    <xsd:enumeration value="PROC - Digital strategy &amp; roadmap"/>
                    <xsd:enumeration value="PROC - TOM"/>
                    <xsd:enumeration value="PROC - Functional solution design"/>
                    <xsd:enumeration value="PROC - IT capability maturity assessment"/>
                    <xsd:enumeration value="PROC - KPI benchmarking"/>
                    <xsd:enumeration value="PROC - Lean-agile operating model"/>
                    <xsd:enumeration value="PROC - PPA"/>
                    <xsd:enumeration value="PROC - Process framework"/>
                    <xsd:enumeration value="PROC - Project procurement"/>
                    <xsd:enumeration value="PROC - Resilience &amp; risk mgt"/>
                    <xsd:enumeration value="PROC - Roles &amp; competences"/>
                    <xsd:enumeration value="PROC - Skill assessment"/>
                    <xsd:enumeration value="PROC - Supplier enabled innovation"/>
                    <xsd:enumeration value="PROC - SW soultion provider selection"/>
                    <xsd:enumeration value="PROC - Supplier search"/>
                    <xsd:enumeration value="PROC - Supplier Management"/>
                    <xsd:enumeration value="T&amp;S - Agile Ways of Working"/>
                    <xsd:enumeration value="T&amp;S - Business Culture Design"/>
                    <xsd:enumeration value="T&amp;S - Change Management"/>
                    <xsd:enumeration value="T&amp;S - Digitilization"/>
                    <xsd:enumeration value="T&amp;S - New Ways of Learning"/>
                    <xsd:enumeration value="T&amp;S - Organizational Transformation"/>
                    <xsd:enumeration value="T&amp;S - Purpose-drive Organization"/>
                    <xsd:enumeration value="T&amp;S - Sustainability Transformation"/>
                  </xsd:restriction>
                </xsd:simple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90da91-de8f-4265-b3ae-d30936bed38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E55B268-5A46-4781-AB49-7CDE7490D953}">
  <ds:schemaRefs>
    <ds:schemaRef ds:uri="http://purl.org/dc/elements/1.1/"/>
    <ds:schemaRef ds:uri="http://schemas.microsoft.com/office/2006/metadata/properties"/>
    <ds:schemaRef ds:uri="36d90398-f3b3-44fc-a622-8c0f8faa9e70"/>
    <ds:schemaRef ds:uri="http://schemas.microsoft.com/sharepoint/v3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4ee5c474-721a-40cc-9a5b-09f7e7221fb9"/>
    <ds:schemaRef ds:uri="http://www.w3.org/XML/1998/namespace"/>
    <ds:schemaRef ds:uri="5c90da91-de8f-4265-b3ae-d30936bed380"/>
    <ds:schemaRef ds:uri="e80f594f-e4fd-48a9-9e31-fca2239af45d"/>
  </ds:schemaRefs>
</ds:datastoreItem>
</file>

<file path=customXml/itemProps2.xml><?xml version="1.0" encoding="utf-8"?>
<ds:datastoreItem xmlns:ds="http://schemas.openxmlformats.org/officeDocument/2006/customXml" ds:itemID="{557784D0-D946-4FE8-A94E-04A2C918AF4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E46337E-30DB-4897-8A60-6F0983DEBF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80f594f-e4fd-48a9-9e31-fca2239af45d"/>
    <ds:schemaRef ds:uri="5c90da91-de8f-4265-b3ae-d30936bed3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Z_PowerPoint_16x9_MASTER</Template>
  <TotalTime>0</TotalTime>
  <Words>879</Words>
  <Application>Microsoft Office PowerPoint</Application>
  <PresentationFormat>Breitbild</PresentationFormat>
  <Paragraphs>103</Paragraphs>
  <Slides>3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2" baseType="lpstr">
      <vt:lpstr>Symbol</vt:lpstr>
      <vt:lpstr>H&amp;Z Campton TT Book</vt:lpstr>
      <vt:lpstr>Arial</vt:lpstr>
      <vt:lpstr>Wingdings</vt:lpstr>
      <vt:lpstr>Calibri</vt:lpstr>
      <vt:lpstr>H&amp;Z</vt:lpstr>
      <vt:lpstr>Wacker Neuson Group</vt:lpstr>
      <vt:lpstr>1_Wacker Neuson Group</vt:lpstr>
      <vt:lpstr>think-cell Folie</vt:lpstr>
      <vt:lpstr>We conducted numerous value creation projects in electronics providing benchmarks, should costings and quick-wins realization</vt:lpstr>
      <vt:lpstr>We are experts in Target Operating Model design and  implementation for global indirect Procurement organizations</vt:lpstr>
      <vt:lpstr>With a track record of 500+ projects, we regard cost  reduction of indirect material our home turf</vt:lpstr>
    </vt:vector>
  </TitlesOfParts>
  <Company>Fresenius Kab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NoMoreHours</dc:creator>
  <cp:lastModifiedBy>Oliver Noé</cp:lastModifiedBy>
  <cp:revision>2</cp:revision>
  <dcterms:created xsi:type="dcterms:W3CDTF">2021-12-09T08:20:25Z</dcterms:created>
  <dcterms:modified xsi:type="dcterms:W3CDTF">2023-02-01T08:26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43CC4DE2933754087479E68D7350F91</vt:lpwstr>
  </property>
  <property fmtid="{D5CDD505-2E9C-101B-9397-08002B2CF9AE}" pid="3" name="MSIP_Label_b0d5c4f4-7a29-4385-b7a5-afbe2154ae6f_Enabled">
    <vt:lpwstr>true</vt:lpwstr>
  </property>
  <property fmtid="{D5CDD505-2E9C-101B-9397-08002B2CF9AE}" pid="4" name="MSIP_Label_b0d5c4f4-7a29-4385-b7a5-afbe2154ae6f_SetDate">
    <vt:lpwstr>2021-11-11T15:13:02Z</vt:lpwstr>
  </property>
  <property fmtid="{D5CDD505-2E9C-101B-9397-08002B2CF9AE}" pid="5" name="MSIP_Label_b0d5c4f4-7a29-4385-b7a5-afbe2154ae6f_Method">
    <vt:lpwstr>Standard</vt:lpwstr>
  </property>
  <property fmtid="{D5CDD505-2E9C-101B-9397-08002B2CF9AE}" pid="6" name="MSIP_Label_b0d5c4f4-7a29-4385-b7a5-afbe2154ae6f_Name">
    <vt:lpwstr>Confidential</vt:lpwstr>
  </property>
  <property fmtid="{D5CDD505-2E9C-101B-9397-08002B2CF9AE}" pid="7" name="MSIP_Label_b0d5c4f4-7a29-4385-b7a5-afbe2154ae6f_SiteId">
    <vt:lpwstr>2dfb2f0b-4d21-4268-9559-72926144c918</vt:lpwstr>
  </property>
  <property fmtid="{D5CDD505-2E9C-101B-9397-08002B2CF9AE}" pid="8" name="MSIP_Label_b0d5c4f4-7a29-4385-b7a5-afbe2154ae6f_ActionId">
    <vt:lpwstr>12893621-3eeb-4166-a2b8-ea93a6cb2d97</vt:lpwstr>
  </property>
  <property fmtid="{D5CDD505-2E9C-101B-9397-08002B2CF9AE}" pid="9" name="MSIP_Label_b0d5c4f4-7a29-4385-b7a5-afbe2154ae6f_ContentBits">
    <vt:lpwstr>0</vt:lpwstr>
  </property>
  <property fmtid="{D5CDD505-2E9C-101B-9397-08002B2CF9AE}" pid="10" name="bcgClassification">
    <vt:lpwstr>bcgConfidential</vt:lpwstr>
  </property>
</Properties>
</file>